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5" r:id="rId5"/>
    <p:sldMasterId id="2147484789" r:id="rId6"/>
  </p:sldMasterIdLst>
  <p:notesMasterIdLst>
    <p:notesMasterId r:id="rId27"/>
  </p:notesMasterIdLst>
  <p:handoutMasterIdLst>
    <p:handoutMasterId r:id="rId28"/>
  </p:handoutMasterIdLst>
  <p:sldIdLst>
    <p:sldId id="256" r:id="rId7"/>
    <p:sldId id="1994" r:id="rId8"/>
    <p:sldId id="307" r:id="rId9"/>
    <p:sldId id="355" r:id="rId10"/>
    <p:sldId id="2008" r:id="rId11"/>
    <p:sldId id="2009" r:id="rId12"/>
    <p:sldId id="2010" r:id="rId13"/>
    <p:sldId id="2013" r:id="rId14"/>
    <p:sldId id="2012" r:id="rId15"/>
    <p:sldId id="2024" r:id="rId16"/>
    <p:sldId id="2001" r:id="rId17"/>
    <p:sldId id="1999" r:id="rId18"/>
    <p:sldId id="2000" r:id="rId19"/>
    <p:sldId id="1975" r:id="rId20"/>
    <p:sldId id="1966" r:id="rId21"/>
    <p:sldId id="2002" r:id="rId22"/>
    <p:sldId id="2003" r:id="rId23"/>
    <p:sldId id="2023" r:id="rId24"/>
    <p:sldId id="423" r:id="rId25"/>
    <p:sldId id="268" r:id="rId2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B8C1BF-EEA0-3F68-B855-E8FDB5E30D71}" name="Nicholas Miller" initials="NM" userId="Nicholas Miller"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Christopher Weaver" initials="CW" lastIdx="1" clrIdx="5">
    <p:extLst>
      <p:ext uri="{19B8F6BF-5375-455C-9EA6-DF929625EA0E}">
        <p15:presenceInfo xmlns:p15="http://schemas.microsoft.com/office/powerpoint/2012/main" userId="S::christwe@microsoft.com::2d47d5c7-389a-4b91-8fc5-dfad12ad20c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2050"/>
    <a:srgbClr val="00188F"/>
    <a:srgbClr val="107C10"/>
    <a:srgbClr val="008272"/>
    <a:srgbClr val="B4009E"/>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750" autoAdjust="0"/>
  </p:normalViewPr>
  <p:slideViewPr>
    <p:cSldViewPr snapToGrid="0">
      <p:cViewPr varScale="1">
        <p:scale>
          <a:sx n="86" d="100"/>
          <a:sy n="86" d="100"/>
        </p:scale>
        <p:origin x="1452" y="8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shabh Mathur" userId="S::rimathur@microsoft.com::085a90ad-ff62-452d-9cc6-fb668aecc57d" providerId="AD" clId="Web-{934AC73E-BB0D-2A64-99CE-D5382754C293}"/>
    <pc:docChg chg="addSld delSld modSld sldOrd addMainMaster">
      <pc:chgData name="Rishabh Mathur" userId="S::rimathur@microsoft.com::085a90ad-ff62-452d-9cc6-fb668aecc57d" providerId="AD" clId="Web-{934AC73E-BB0D-2A64-99CE-D5382754C293}" dt="2021-05-06T20:50:47.364" v="412" actId="1076"/>
      <pc:docMkLst>
        <pc:docMk/>
      </pc:docMkLst>
      <pc:sldChg chg="addSp modSp mod ord modShow">
        <pc:chgData name="Rishabh Mathur" userId="S::rimathur@microsoft.com::085a90ad-ff62-452d-9cc6-fb668aecc57d" providerId="AD" clId="Web-{934AC73E-BB0D-2A64-99CE-D5382754C293}" dt="2021-05-06T20:18:36.133" v="199"/>
        <pc:sldMkLst>
          <pc:docMk/>
          <pc:sldMk cId="279157146" sldId="2016"/>
        </pc:sldMkLst>
        <pc:spChg chg="add mod">
          <ac:chgData name="Rishabh Mathur" userId="S::rimathur@microsoft.com::085a90ad-ff62-452d-9cc6-fb668aecc57d" providerId="AD" clId="Web-{934AC73E-BB0D-2A64-99CE-D5382754C293}" dt="2021-05-06T20:01:06.317" v="10" actId="20577"/>
          <ac:spMkLst>
            <pc:docMk/>
            <pc:sldMk cId="279157146" sldId="2016"/>
            <ac:spMk id="4" creationId="{4BD5A158-0057-485E-8B9D-123B10405B86}"/>
          </ac:spMkLst>
        </pc:spChg>
      </pc:sldChg>
      <pc:sldChg chg="mod modShow">
        <pc:chgData name="Rishabh Mathur" userId="S::rimathur@microsoft.com::085a90ad-ff62-452d-9cc6-fb668aecc57d" providerId="AD" clId="Web-{934AC73E-BB0D-2A64-99CE-D5382754C293}" dt="2021-05-06T20:18:36.398" v="202"/>
        <pc:sldMkLst>
          <pc:docMk/>
          <pc:sldMk cId="2046959756" sldId="2017"/>
        </pc:sldMkLst>
      </pc:sldChg>
      <pc:sldChg chg="addSp delSp modSp add mod replId modShow">
        <pc:chgData name="Rishabh Mathur" userId="S::rimathur@microsoft.com::085a90ad-ff62-452d-9cc6-fb668aecc57d" providerId="AD" clId="Web-{934AC73E-BB0D-2A64-99CE-D5382754C293}" dt="2021-05-06T20:18:36.351" v="201"/>
        <pc:sldMkLst>
          <pc:docMk/>
          <pc:sldMk cId="2104978979" sldId="2018"/>
        </pc:sldMkLst>
        <pc:spChg chg="mod">
          <ac:chgData name="Rishabh Mathur" userId="S::rimathur@microsoft.com::085a90ad-ff62-452d-9cc6-fb668aecc57d" providerId="AD" clId="Web-{934AC73E-BB0D-2A64-99CE-D5382754C293}" dt="2021-05-06T20:05:19.036" v="17" actId="20577"/>
          <ac:spMkLst>
            <pc:docMk/>
            <pc:sldMk cId="2104978979" sldId="2018"/>
            <ac:spMk id="2" creationId="{9C9EB481-07D4-4392-9DE5-D0678F93BAF6}"/>
          </ac:spMkLst>
        </pc:spChg>
        <pc:spChg chg="add del mod">
          <ac:chgData name="Rishabh Mathur" userId="S::rimathur@microsoft.com::085a90ad-ff62-452d-9cc6-fb668aecc57d" providerId="AD" clId="Web-{934AC73E-BB0D-2A64-99CE-D5382754C293}" dt="2021-05-06T20:05:38.381" v="22"/>
          <ac:spMkLst>
            <pc:docMk/>
            <pc:sldMk cId="2104978979" sldId="2018"/>
            <ac:spMk id="3" creationId="{A9A41B11-4881-40E3-AF72-9FF6F2C59236}"/>
          </ac:spMkLst>
        </pc:spChg>
        <pc:spChg chg="add del mod">
          <ac:chgData name="Rishabh Mathur" userId="S::rimathur@microsoft.com::085a90ad-ff62-452d-9cc6-fb668aecc57d" providerId="AD" clId="Web-{934AC73E-BB0D-2A64-99CE-D5382754C293}" dt="2021-05-06T20:09:20.129" v="47" actId="14100"/>
          <ac:spMkLst>
            <pc:docMk/>
            <pc:sldMk cId="2104978979" sldId="2018"/>
            <ac:spMk id="4" creationId="{4BD5A158-0057-485E-8B9D-123B10405B86}"/>
          </ac:spMkLst>
        </pc:spChg>
        <pc:spChg chg="add mod">
          <ac:chgData name="Rishabh Mathur" userId="S::rimathur@microsoft.com::085a90ad-ff62-452d-9cc6-fb668aecc57d" providerId="AD" clId="Web-{934AC73E-BB0D-2A64-99CE-D5382754C293}" dt="2021-05-06T20:09:05.472" v="39" actId="1076"/>
          <ac:spMkLst>
            <pc:docMk/>
            <pc:sldMk cId="2104978979" sldId="2018"/>
            <ac:spMk id="6" creationId="{A885877D-29A7-4A9D-90D9-8F08D840B41B}"/>
          </ac:spMkLst>
        </pc:spChg>
        <pc:spChg chg="add mod">
          <ac:chgData name="Rishabh Mathur" userId="S::rimathur@microsoft.com::085a90ad-ff62-452d-9cc6-fb668aecc57d" providerId="AD" clId="Web-{934AC73E-BB0D-2A64-99CE-D5382754C293}" dt="2021-05-06T20:09:05.488" v="40" actId="1076"/>
          <ac:spMkLst>
            <pc:docMk/>
            <pc:sldMk cId="2104978979" sldId="2018"/>
            <ac:spMk id="7" creationId="{2E0264A4-6AE2-4503-A004-190883109CF7}"/>
          </ac:spMkLst>
        </pc:spChg>
        <pc:picChg chg="add mod">
          <ac:chgData name="Rishabh Mathur" userId="S::rimathur@microsoft.com::085a90ad-ff62-452d-9cc6-fb668aecc57d" providerId="AD" clId="Web-{934AC73E-BB0D-2A64-99CE-D5382754C293}" dt="2021-05-06T20:09:05.503" v="43" actId="1076"/>
          <ac:picMkLst>
            <pc:docMk/>
            <pc:sldMk cId="2104978979" sldId="2018"/>
            <ac:picMk id="5" creationId="{FA6A6F50-2004-4C10-9B4D-0F04B081D38F}"/>
          </ac:picMkLst>
        </pc:picChg>
        <pc:picChg chg="add mod">
          <ac:chgData name="Rishabh Mathur" userId="S::rimathur@microsoft.com::085a90ad-ff62-452d-9cc6-fb668aecc57d" providerId="AD" clId="Web-{934AC73E-BB0D-2A64-99CE-D5382754C293}" dt="2021-05-06T20:09:05.488" v="41" actId="1076"/>
          <ac:picMkLst>
            <pc:docMk/>
            <pc:sldMk cId="2104978979" sldId="2018"/>
            <ac:picMk id="8" creationId="{C5B42BAA-1D0C-4DF1-BAF0-02C001E494FA}"/>
          </ac:picMkLst>
        </pc:picChg>
        <pc:picChg chg="add mod">
          <ac:chgData name="Rishabh Mathur" userId="S::rimathur@microsoft.com::085a90ad-ff62-452d-9cc6-fb668aecc57d" providerId="AD" clId="Web-{934AC73E-BB0D-2A64-99CE-D5382754C293}" dt="2021-05-06T20:09:05.503" v="42" actId="1076"/>
          <ac:picMkLst>
            <pc:docMk/>
            <pc:sldMk cId="2104978979" sldId="2018"/>
            <ac:picMk id="9" creationId="{87D4CA33-6524-43EF-84B7-033E0EAECB59}"/>
          </ac:picMkLst>
        </pc:picChg>
        <pc:picChg chg="add mod">
          <ac:chgData name="Rishabh Mathur" userId="S::rimathur@microsoft.com::085a90ad-ff62-452d-9cc6-fb668aecc57d" providerId="AD" clId="Web-{934AC73E-BB0D-2A64-99CE-D5382754C293}" dt="2021-05-06T20:09:34.396" v="48"/>
          <ac:picMkLst>
            <pc:docMk/>
            <pc:sldMk cId="2104978979" sldId="2018"/>
            <ac:picMk id="10" creationId="{868521E2-BE0E-400C-95C0-972E66A1B998}"/>
          </ac:picMkLst>
        </pc:picChg>
        <pc:picChg chg="add mod">
          <ac:chgData name="Rishabh Mathur" userId="S::rimathur@microsoft.com::085a90ad-ff62-452d-9cc6-fb668aecc57d" providerId="AD" clId="Web-{934AC73E-BB0D-2A64-99CE-D5382754C293}" dt="2021-05-06T20:09:51.553" v="51" actId="1076"/>
          <ac:picMkLst>
            <pc:docMk/>
            <pc:sldMk cId="2104978979" sldId="2018"/>
            <ac:picMk id="11" creationId="{AB9ADF1E-0285-4EB7-804B-5D9D33228DF3}"/>
          </ac:picMkLst>
        </pc:picChg>
        <pc:picChg chg="add mod">
          <ac:chgData name="Rishabh Mathur" userId="S::rimathur@microsoft.com::085a90ad-ff62-452d-9cc6-fb668aecc57d" providerId="AD" clId="Web-{934AC73E-BB0D-2A64-99CE-D5382754C293}" dt="2021-05-06T20:09:54.037" v="52" actId="1076"/>
          <ac:picMkLst>
            <pc:docMk/>
            <pc:sldMk cId="2104978979" sldId="2018"/>
            <ac:picMk id="12" creationId="{3DF92860-30E8-4F25-A090-4FE4A413B081}"/>
          </ac:picMkLst>
        </pc:picChg>
      </pc:sldChg>
      <pc:sldChg chg="add del">
        <pc:chgData name="Rishabh Mathur" userId="S::rimathur@microsoft.com::085a90ad-ff62-452d-9cc6-fb668aecc57d" providerId="AD" clId="Web-{934AC73E-BB0D-2A64-99CE-D5382754C293}" dt="2021-05-06T20:15:42.184" v="198"/>
        <pc:sldMkLst>
          <pc:docMk/>
          <pc:sldMk cId="2459528437" sldId="2019"/>
        </pc:sldMkLst>
      </pc:sldChg>
      <pc:sldChg chg="addSp modSp new mod modShow">
        <pc:chgData name="Rishabh Mathur" userId="S::rimathur@microsoft.com::085a90ad-ff62-452d-9cc6-fb668aecc57d" providerId="AD" clId="Web-{934AC73E-BB0D-2A64-99CE-D5382754C293}" dt="2021-05-06T20:18:36.289" v="200"/>
        <pc:sldMkLst>
          <pc:docMk/>
          <pc:sldMk cId="2179952507" sldId="2020"/>
        </pc:sldMkLst>
        <pc:spChg chg="mod">
          <ac:chgData name="Rishabh Mathur" userId="S::rimathur@microsoft.com::085a90ad-ff62-452d-9cc6-fb668aecc57d" providerId="AD" clId="Web-{934AC73E-BB0D-2A64-99CE-D5382754C293}" dt="2021-05-06T20:13:52.787" v="56" actId="20577"/>
          <ac:spMkLst>
            <pc:docMk/>
            <pc:sldMk cId="2179952507" sldId="2020"/>
            <ac:spMk id="2" creationId="{9F051C3D-1E40-423F-98BB-18248615729A}"/>
          </ac:spMkLst>
        </pc:spChg>
        <pc:spChg chg="add mod">
          <ac:chgData name="Rishabh Mathur" userId="S::rimathur@microsoft.com::085a90ad-ff62-452d-9cc6-fb668aecc57d" providerId="AD" clId="Web-{934AC73E-BB0D-2A64-99CE-D5382754C293}" dt="2021-05-06T20:14:28.414" v="182"/>
          <ac:spMkLst>
            <pc:docMk/>
            <pc:sldMk cId="2179952507" sldId="2020"/>
            <ac:spMk id="4" creationId="{13605C21-32EB-4B34-8FE7-775D28C93658}"/>
          </ac:spMkLst>
        </pc:spChg>
        <pc:spChg chg="add mod">
          <ac:chgData name="Rishabh Mathur" userId="S::rimathur@microsoft.com::085a90ad-ff62-452d-9cc6-fb668aecc57d" providerId="AD" clId="Web-{934AC73E-BB0D-2A64-99CE-D5382754C293}" dt="2021-05-06T20:15:06.479" v="191"/>
          <ac:spMkLst>
            <pc:docMk/>
            <pc:sldMk cId="2179952507" sldId="2020"/>
            <ac:spMk id="12" creationId="{7B2BDD4D-8345-4EC0-831B-12DA005B0AD0}"/>
          </ac:spMkLst>
        </pc:spChg>
        <pc:spChg chg="add mod">
          <ac:chgData name="Rishabh Mathur" userId="S::rimathur@microsoft.com::085a90ad-ff62-452d-9cc6-fb668aecc57d" providerId="AD" clId="Web-{934AC73E-BB0D-2A64-99CE-D5382754C293}" dt="2021-05-06T20:15:16.667" v="192"/>
          <ac:spMkLst>
            <pc:docMk/>
            <pc:sldMk cId="2179952507" sldId="2020"/>
            <ac:spMk id="14" creationId="{13BCB7D5-6DB9-4BEC-9B5D-7DC09FCA1148}"/>
          </ac:spMkLst>
        </pc:spChg>
        <pc:spChg chg="add mod">
          <ac:chgData name="Rishabh Mathur" userId="S::rimathur@microsoft.com::085a90ad-ff62-452d-9cc6-fb668aecc57d" providerId="AD" clId="Web-{934AC73E-BB0D-2A64-99CE-D5382754C293}" dt="2021-05-06T20:15:18.870" v="193"/>
          <ac:spMkLst>
            <pc:docMk/>
            <pc:sldMk cId="2179952507" sldId="2020"/>
            <ac:spMk id="16" creationId="{02511ED0-7428-4801-B86F-BBEF65FABA20}"/>
          </ac:spMkLst>
        </pc:spChg>
        <pc:spChg chg="add mod">
          <ac:chgData name="Rishabh Mathur" userId="S::rimathur@microsoft.com::085a90ad-ff62-452d-9cc6-fb668aecc57d" providerId="AD" clId="Web-{934AC73E-BB0D-2A64-99CE-D5382754C293}" dt="2021-05-06T20:15:24.824" v="195"/>
          <ac:spMkLst>
            <pc:docMk/>
            <pc:sldMk cId="2179952507" sldId="2020"/>
            <ac:spMk id="18" creationId="{2CCB4673-6604-4519-8D08-754A6633B1F9}"/>
          </ac:spMkLst>
        </pc:spChg>
        <pc:spChg chg="add mod">
          <ac:chgData name="Rishabh Mathur" userId="S::rimathur@microsoft.com::085a90ad-ff62-452d-9cc6-fb668aecc57d" providerId="AD" clId="Web-{934AC73E-BB0D-2A64-99CE-D5382754C293}" dt="2021-05-06T20:15:28.012" v="196"/>
          <ac:spMkLst>
            <pc:docMk/>
            <pc:sldMk cId="2179952507" sldId="2020"/>
            <ac:spMk id="20" creationId="{7A08817C-B39D-4ED6-89FD-74F1EF56CC21}"/>
          </ac:spMkLst>
        </pc:spChg>
        <pc:spChg chg="add mod">
          <ac:chgData name="Rishabh Mathur" userId="S::rimathur@microsoft.com::085a90ad-ff62-452d-9cc6-fb668aecc57d" providerId="AD" clId="Web-{934AC73E-BB0D-2A64-99CE-D5382754C293}" dt="2021-05-06T20:15:31.293" v="197"/>
          <ac:spMkLst>
            <pc:docMk/>
            <pc:sldMk cId="2179952507" sldId="2020"/>
            <ac:spMk id="22" creationId="{5EBD40E3-75EB-4DD8-8D12-5A94B888A33F}"/>
          </ac:spMkLst>
        </pc:spChg>
        <pc:spChg chg="add mod">
          <ac:chgData name="Rishabh Mathur" userId="S::rimathur@microsoft.com::085a90ad-ff62-452d-9cc6-fb668aecc57d" providerId="AD" clId="Web-{934AC73E-BB0D-2A64-99CE-D5382754C293}" dt="2021-05-06T20:15:21.339" v="194"/>
          <ac:spMkLst>
            <pc:docMk/>
            <pc:sldMk cId="2179952507" sldId="2020"/>
            <ac:spMk id="24" creationId="{63D94536-D990-4C25-8CAF-0028E50CF2CE}"/>
          </ac:spMkLst>
        </pc:spChg>
        <pc:spChg chg="add mod">
          <ac:chgData name="Rishabh Mathur" userId="S::rimathur@microsoft.com::085a90ad-ff62-452d-9cc6-fb668aecc57d" providerId="AD" clId="Web-{934AC73E-BB0D-2A64-99CE-D5382754C293}" dt="2021-05-06T20:14:28.414" v="166"/>
          <ac:spMkLst>
            <pc:docMk/>
            <pc:sldMk cId="2179952507" sldId="2020"/>
            <ac:spMk id="36" creationId="{06EA9DFB-F1F8-4E5D-8F23-02E02F91A164}"/>
          </ac:spMkLst>
        </pc:spChg>
        <pc:spChg chg="add mod">
          <ac:chgData name="Rishabh Mathur" userId="S::rimathur@microsoft.com::085a90ad-ff62-452d-9cc6-fb668aecc57d" providerId="AD" clId="Web-{934AC73E-BB0D-2A64-99CE-D5382754C293}" dt="2021-05-06T20:14:28.414" v="165"/>
          <ac:spMkLst>
            <pc:docMk/>
            <pc:sldMk cId="2179952507" sldId="2020"/>
            <ac:spMk id="38" creationId="{A38BC492-7E53-4B4D-9ECE-AFEECF1A1CAC}"/>
          </ac:spMkLst>
        </pc:spChg>
        <pc:spChg chg="add mod">
          <ac:chgData name="Rishabh Mathur" userId="S::rimathur@microsoft.com::085a90ad-ff62-452d-9cc6-fb668aecc57d" providerId="AD" clId="Web-{934AC73E-BB0D-2A64-99CE-D5382754C293}" dt="2021-05-06T20:14:28.414" v="164"/>
          <ac:spMkLst>
            <pc:docMk/>
            <pc:sldMk cId="2179952507" sldId="2020"/>
            <ac:spMk id="40" creationId="{95D1E803-CC27-4B92-ADB7-90113625408C}"/>
          </ac:spMkLst>
        </pc:spChg>
        <pc:spChg chg="add mod">
          <ac:chgData name="Rishabh Mathur" userId="S::rimathur@microsoft.com::085a90ad-ff62-452d-9cc6-fb668aecc57d" providerId="AD" clId="Web-{934AC73E-BB0D-2A64-99CE-D5382754C293}" dt="2021-05-06T20:14:28.414" v="163"/>
          <ac:spMkLst>
            <pc:docMk/>
            <pc:sldMk cId="2179952507" sldId="2020"/>
            <ac:spMk id="42" creationId="{38BEB4BE-D92B-4C91-B603-9177CBE2A1DF}"/>
          </ac:spMkLst>
        </pc:spChg>
        <pc:spChg chg="mod">
          <ac:chgData name="Rishabh Mathur" userId="S::rimathur@microsoft.com::085a90ad-ff62-452d-9cc6-fb668aecc57d" providerId="AD" clId="Web-{934AC73E-BB0D-2A64-99CE-D5382754C293}" dt="2021-05-06T20:14:28.414" v="162"/>
          <ac:spMkLst>
            <pc:docMk/>
            <pc:sldMk cId="2179952507" sldId="2020"/>
            <ac:spMk id="44" creationId="{5680D045-6D79-40C7-B690-6D4382624D73}"/>
          </ac:spMkLst>
        </pc:spChg>
        <pc:spChg chg="mod">
          <ac:chgData name="Rishabh Mathur" userId="S::rimathur@microsoft.com::085a90ad-ff62-452d-9cc6-fb668aecc57d" providerId="AD" clId="Web-{934AC73E-BB0D-2A64-99CE-D5382754C293}" dt="2021-05-06T20:14:28.414" v="161"/>
          <ac:spMkLst>
            <pc:docMk/>
            <pc:sldMk cId="2179952507" sldId="2020"/>
            <ac:spMk id="45" creationId="{9A1F5E3C-EACD-4737-9D99-C26E09B97A3F}"/>
          </ac:spMkLst>
        </pc:spChg>
        <pc:spChg chg="add mod">
          <ac:chgData name="Rishabh Mathur" userId="S::rimathur@microsoft.com::085a90ad-ff62-452d-9cc6-fb668aecc57d" providerId="AD" clId="Web-{934AC73E-BB0D-2A64-99CE-D5382754C293}" dt="2021-05-06T20:14:28.414" v="160"/>
          <ac:spMkLst>
            <pc:docMk/>
            <pc:sldMk cId="2179952507" sldId="2020"/>
            <ac:spMk id="48" creationId="{29459F21-DEAE-4B69-8CB4-69D59A49E661}"/>
          </ac:spMkLst>
        </pc:spChg>
        <pc:spChg chg="add mod">
          <ac:chgData name="Rishabh Mathur" userId="S::rimathur@microsoft.com::085a90ad-ff62-452d-9cc6-fb668aecc57d" providerId="AD" clId="Web-{934AC73E-BB0D-2A64-99CE-D5382754C293}" dt="2021-05-06T20:14:28.414" v="158"/>
          <ac:spMkLst>
            <pc:docMk/>
            <pc:sldMk cId="2179952507" sldId="2020"/>
            <ac:spMk id="52" creationId="{E0F4BBB8-9C0F-47DB-BCD3-4663035FE7F5}"/>
          </ac:spMkLst>
        </pc:spChg>
        <pc:spChg chg="mod">
          <ac:chgData name="Rishabh Mathur" userId="S::rimathur@microsoft.com::085a90ad-ff62-452d-9cc6-fb668aecc57d" providerId="AD" clId="Web-{934AC73E-BB0D-2A64-99CE-D5382754C293}" dt="2021-05-06T20:14:28.414" v="156"/>
          <ac:spMkLst>
            <pc:docMk/>
            <pc:sldMk cId="2179952507" sldId="2020"/>
            <ac:spMk id="56" creationId="{CAA5AD8B-01E0-4A39-A202-F567F7D8D85D}"/>
          </ac:spMkLst>
        </pc:spChg>
        <pc:spChg chg="mod">
          <ac:chgData name="Rishabh Mathur" userId="S::rimathur@microsoft.com::085a90ad-ff62-452d-9cc6-fb668aecc57d" providerId="AD" clId="Web-{934AC73E-BB0D-2A64-99CE-D5382754C293}" dt="2021-05-06T20:14:28.414" v="155"/>
          <ac:spMkLst>
            <pc:docMk/>
            <pc:sldMk cId="2179952507" sldId="2020"/>
            <ac:spMk id="57" creationId="{CA7BBF04-A052-47A8-A666-DE7D1FAE1408}"/>
          </ac:spMkLst>
        </pc:spChg>
        <pc:spChg chg="mod">
          <ac:chgData name="Rishabh Mathur" userId="S::rimathur@microsoft.com::085a90ad-ff62-452d-9cc6-fb668aecc57d" providerId="AD" clId="Web-{934AC73E-BB0D-2A64-99CE-D5382754C293}" dt="2021-05-06T20:14:28.414" v="154"/>
          <ac:spMkLst>
            <pc:docMk/>
            <pc:sldMk cId="2179952507" sldId="2020"/>
            <ac:spMk id="58" creationId="{FFDB4DC8-CCB8-4917-93DA-8D9F2CCFD89C}"/>
          </ac:spMkLst>
        </pc:spChg>
        <pc:spChg chg="mod">
          <ac:chgData name="Rishabh Mathur" userId="S::rimathur@microsoft.com::085a90ad-ff62-452d-9cc6-fb668aecc57d" providerId="AD" clId="Web-{934AC73E-BB0D-2A64-99CE-D5382754C293}" dt="2021-05-06T20:14:28.414" v="153"/>
          <ac:spMkLst>
            <pc:docMk/>
            <pc:sldMk cId="2179952507" sldId="2020"/>
            <ac:spMk id="59" creationId="{622527E5-B9CA-4216-ABA9-4EADC98E802E}"/>
          </ac:spMkLst>
        </pc:spChg>
        <pc:spChg chg="mod">
          <ac:chgData name="Rishabh Mathur" userId="S::rimathur@microsoft.com::085a90ad-ff62-452d-9cc6-fb668aecc57d" providerId="AD" clId="Web-{934AC73E-BB0D-2A64-99CE-D5382754C293}" dt="2021-05-06T20:14:28.414" v="152"/>
          <ac:spMkLst>
            <pc:docMk/>
            <pc:sldMk cId="2179952507" sldId="2020"/>
            <ac:spMk id="60" creationId="{B9461E98-500C-4ECA-98DC-F565E66C60DA}"/>
          </ac:spMkLst>
        </pc:spChg>
        <pc:spChg chg="mod">
          <ac:chgData name="Rishabh Mathur" userId="S::rimathur@microsoft.com::085a90ad-ff62-452d-9cc6-fb668aecc57d" providerId="AD" clId="Web-{934AC73E-BB0D-2A64-99CE-D5382754C293}" dt="2021-05-06T20:14:28.414" v="151"/>
          <ac:spMkLst>
            <pc:docMk/>
            <pc:sldMk cId="2179952507" sldId="2020"/>
            <ac:spMk id="61" creationId="{C4EF7EC4-C209-4A2A-9238-9D4BE71FFE5E}"/>
          </ac:spMkLst>
        </pc:spChg>
        <pc:spChg chg="add mod">
          <ac:chgData name="Rishabh Mathur" userId="S::rimathur@microsoft.com::085a90ad-ff62-452d-9cc6-fb668aecc57d" providerId="AD" clId="Web-{934AC73E-BB0D-2A64-99CE-D5382754C293}" dt="2021-05-06T20:14:28.414" v="150"/>
          <ac:spMkLst>
            <pc:docMk/>
            <pc:sldMk cId="2179952507" sldId="2020"/>
            <ac:spMk id="64" creationId="{D9BB523D-F67E-4F91-A531-DF64DBB12720}"/>
          </ac:spMkLst>
        </pc:spChg>
        <pc:spChg chg="mod">
          <ac:chgData name="Rishabh Mathur" userId="S::rimathur@microsoft.com::085a90ad-ff62-452d-9cc6-fb668aecc57d" providerId="AD" clId="Web-{934AC73E-BB0D-2A64-99CE-D5382754C293}" dt="2021-05-06T20:14:28.414" v="149"/>
          <ac:spMkLst>
            <pc:docMk/>
            <pc:sldMk cId="2179952507" sldId="2020"/>
            <ac:spMk id="66" creationId="{67F6867F-F4EF-435A-AC81-5A827D7A1B44}"/>
          </ac:spMkLst>
        </pc:spChg>
        <pc:spChg chg="mod">
          <ac:chgData name="Rishabh Mathur" userId="S::rimathur@microsoft.com::085a90ad-ff62-452d-9cc6-fb668aecc57d" providerId="AD" clId="Web-{934AC73E-BB0D-2A64-99CE-D5382754C293}" dt="2021-05-06T20:14:28.414" v="148"/>
          <ac:spMkLst>
            <pc:docMk/>
            <pc:sldMk cId="2179952507" sldId="2020"/>
            <ac:spMk id="67" creationId="{8DE686C5-DCF6-41CE-9298-56DD8E7EEAC1}"/>
          </ac:spMkLst>
        </pc:spChg>
        <pc:spChg chg="mod">
          <ac:chgData name="Rishabh Mathur" userId="S::rimathur@microsoft.com::085a90ad-ff62-452d-9cc6-fb668aecc57d" providerId="AD" clId="Web-{934AC73E-BB0D-2A64-99CE-D5382754C293}" dt="2021-05-06T20:14:28.414" v="147"/>
          <ac:spMkLst>
            <pc:docMk/>
            <pc:sldMk cId="2179952507" sldId="2020"/>
            <ac:spMk id="68" creationId="{00896EF8-ECF9-4DAE-89ED-F595CD28266D}"/>
          </ac:spMkLst>
        </pc:spChg>
        <pc:spChg chg="mod">
          <ac:chgData name="Rishabh Mathur" userId="S::rimathur@microsoft.com::085a90ad-ff62-452d-9cc6-fb668aecc57d" providerId="AD" clId="Web-{934AC73E-BB0D-2A64-99CE-D5382754C293}" dt="2021-05-06T20:14:28.414" v="146"/>
          <ac:spMkLst>
            <pc:docMk/>
            <pc:sldMk cId="2179952507" sldId="2020"/>
            <ac:spMk id="69" creationId="{E9DF2374-6544-41EC-A9F2-E0AACFC0C86A}"/>
          </ac:spMkLst>
        </pc:spChg>
        <pc:spChg chg="mod">
          <ac:chgData name="Rishabh Mathur" userId="S::rimathur@microsoft.com::085a90ad-ff62-452d-9cc6-fb668aecc57d" providerId="AD" clId="Web-{934AC73E-BB0D-2A64-99CE-D5382754C293}" dt="2021-05-06T20:14:28.414" v="145"/>
          <ac:spMkLst>
            <pc:docMk/>
            <pc:sldMk cId="2179952507" sldId="2020"/>
            <ac:spMk id="70" creationId="{B32CB6A8-1285-48AE-AF6A-F3154F7987FD}"/>
          </ac:spMkLst>
        </pc:spChg>
        <pc:spChg chg="add mod">
          <ac:chgData name="Rishabh Mathur" userId="S::rimathur@microsoft.com::085a90ad-ff62-452d-9cc6-fb668aecc57d" providerId="AD" clId="Web-{934AC73E-BB0D-2A64-99CE-D5382754C293}" dt="2021-05-06T20:14:28.414" v="144"/>
          <ac:spMkLst>
            <pc:docMk/>
            <pc:sldMk cId="2179952507" sldId="2020"/>
            <ac:spMk id="73" creationId="{5B08562E-2348-4519-AC85-149871CFB0B7}"/>
          </ac:spMkLst>
        </pc:spChg>
        <pc:spChg chg="add mod">
          <ac:chgData name="Rishabh Mathur" userId="S::rimathur@microsoft.com::085a90ad-ff62-452d-9cc6-fb668aecc57d" providerId="AD" clId="Web-{934AC73E-BB0D-2A64-99CE-D5382754C293}" dt="2021-05-06T20:14:28.414" v="143"/>
          <ac:spMkLst>
            <pc:docMk/>
            <pc:sldMk cId="2179952507" sldId="2020"/>
            <ac:spMk id="75" creationId="{828007F8-97B9-4D1A-8A09-00C6BA7D221F}"/>
          </ac:spMkLst>
        </pc:spChg>
        <pc:spChg chg="add mod">
          <ac:chgData name="Rishabh Mathur" userId="S::rimathur@microsoft.com::085a90ad-ff62-452d-9cc6-fb668aecc57d" providerId="AD" clId="Web-{934AC73E-BB0D-2A64-99CE-D5382754C293}" dt="2021-05-06T20:14:28.414" v="142"/>
          <ac:spMkLst>
            <pc:docMk/>
            <pc:sldMk cId="2179952507" sldId="2020"/>
            <ac:spMk id="77" creationId="{FE9E1659-894C-4352-AC48-3D9339DCC29F}"/>
          </ac:spMkLst>
        </pc:spChg>
        <pc:spChg chg="add mod">
          <ac:chgData name="Rishabh Mathur" userId="S::rimathur@microsoft.com::085a90ad-ff62-452d-9cc6-fb668aecc57d" providerId="AD" clId="Web-{934AC73E-BB0D-2A64-99CE-D5382754C293}" dt="2021-05-06T20:14:28.414" v="141"/>
          <ac:spMkLst>
            <pc:docMk/>
            <pc:sldMk cId="2179952507" sldId="2020"/>
            <ac:spMk id="79" creationId="{B852BA13-7E10-4556-A4D2-9B8823A8AFD2}"/>
          </ac:spMkLst>
        </pc:spChg>
        <pc:spChg chg="add mod">
          <ac:chgData name="Rishabh Mathur" userId="S::rimathur@microsoft.com::085a90ad-ff62-452d-9cc6-fb668aecc57d" providerId="AD" clId="Web-{934AC73E-BB0D-2A64-99CE-D5382754C293}" dt="2021-05-06T20:14:28.414" v="140"/>
          <ac:spMkLst>
            <pc:docMk/>
            <pc:sldMk cId="2179952507" sldId="2020"/>
            <ac:spMk id="81" creationId="{D3BA41B7-E7A6-406F-82AA-5FB6810606C8}"/>
          </ac:spMkLst>
        </pc:spChg>
        <pc:spChg chg="add mod">
          <ac:chgData name="Rishabh Mathur" userId="S::rimathur@microsoft.com::085a90ad-ff62-452d-9cc6-fb668aecc57d" providerId="AD" clId="Web-{934AC73E-BB0D-2A64-99CE-D5382754C293}" dt="2021-05-06T20:14:28.414" v="139"/>
          <ac:spMkLst>
            <pc:docMk/>
            <pc:sldMk cId="2179952507" sldId="2020"/>
            <ac:spMk id="83" creationId="{8E4456FB-42B9-4ADA-8664-9965DD9386DC}"/>
          </ac:spMkLst>
        </pc:spChg>
        <pc:spChg chg="add mod">
          <ac:chgData name="Rishabh Mathur" userId="S::rimathur@microsoft.com::085a90ad-ff62-452d-9cc6-fb668aecc57d" providerId="AD" clId="Web-{934AC73E-BB0D-2A64-99CE-D5382754C293}" dt="2021-05-06T20:14:28.414" v="138"/>
          <ac:spMkLst>
            <pc:docMk/>
            <pc:sldMk cId="2179952507" sldId="2020"/>
            <ac:spMk id="85" creationId="{82F394C7-9B48-44DE-989E-93732F9B1C85}"/>
          </ac:spMkLst>
        </pc:spChg>
        <pc:spChg chg="add">
          <ac:chgData name="Rishabh Mathur" userId="S::rimathur@microsoft.com::085a90ad-ff62-452d-9cc6-fb668aecc57d" providerId="AD" clId="Web-{934AC73E-BB0D-2A64-99CE-D5382754C293}" dt="2021-05-06T20:14:06.647" v="92"/>
          <ac:spMkLst>
            <pc:docMk/>
            <pc:sldMk cId="2179952507" sldId="2020"/>
            <ac:spMk id="87" creationId="{12BB78C9-CD2D-4675-98BE-003D58BBC817}"/>
          </ac:spMkLst>
        </pc:spChg>
        <pc:grpChg chg="add">
          <ac:chgData name="Rishabh Mathur" userId="S::rimathur@microsoft.com::085a90ad-ff62-452d-9cc6-fb668aecc57d" providerId="AD" clId="Web-{934AC73E-BB0D-2A64-99CE-D5382754C293}" dt="2021-05-06T20:14:06.381" v="77"/>
          <ac:grpSpMkLst>
            <pc:docMk/>
            <pc:sldMk cId="2179952507" sldId="2020"/>
            <ac:grpSpMk id="46" creationId="{3FFB48D4-DA5B-4C1B-850A-5CD23BA7D9E1}"/>
          </ac:grpSpMkLst>
        </pc:grpChg>
        <pc:grpChg chg="add">
          <ac:chgData name="Rishabh Mathur" userId="S::rimathur@microsoft.com::085a90ad-ff62-452d-9cc6-fb668aecc57d" providerId="AD" clId="Web-{934AC73E-BB0D-2A64-99CE-D5382754C293}" dt="2021-05-06T20:14:06.475" v="82"/>
          <ac:grpSpMkLst>
            <pc:docMk/>
            <pc:sldMk cId="2179952507" sldId="2020"/>
            <ac:grpSpMk id="62" creationId="{26127623-36A1-4C3E-8B57-0EE07FD35D15}"/>
          </ac:grpSpMkLst>
        </pc:grpChg>
        <pc:grpChg chg="add">
          <ac:chgData name="Rishabh Mathur" userId="S::rimathur@microsoft.com::085a90ad-ff62-452d-9cc6-fb668aecc57d" providerId="AD" clId="Web-{934AC73E-BB0D-2A64-99CE-D5382754C293}" dt="2021-05-06T20:14:06.522" v="84"/>
          <ac:grpSpMkLst>
            <pc:docMk/>
            <pc:sldMk cId="2179952507" sldId="2020"/>
            <ac:grpSpMk id="71" creationId="{DA0E8CC2-FD31-4E02-A789-43CADB6FBA5D}"/>
          </ac:grpSpMkLst>
        </pc:grpChg>
        <pc:picChg chg="add mod">
          <ac:chgData name="Rishabh Mathur" userId="S::rimathur@microsoft.com::085a90ad-ff62-452d-9cc6-fb668aecc57d" providerId="AD" clId="Web-{934AC73E-BB0D-2A64-99CE-D5382754C293}" dt="2021-05-06T20:15:06.370" v="184"/>
          <ac:picMkLst>
            <pc:docMk/>
            <pc:sldMk cId="2179952507" sldId="2020"/>
            <ac:picMk id="6" creationId="{7982B0D3-C6F5-4A05-AE1F-36B0B10C3D0E}"/>
          </ac:picMkLst>
        </pc:picChg>
        <pc:picChg chg="add mod">
          <ac:chgData name="Rishabh Mathur" userId="S::rimathur@microsoft.com::085a90ad-ff62-452d-9cc6-fb668aecc57d" providerId="AD" clId="Web-{934AC73E-BB0D-2A64-99CE-D5382754C293}" dt="2021-05-06T20:15:06.385" v="185"/>
          <ac:picMkLst>
            <pc:docMk/>
            <pc:sldMk cId="2179952507" sldId="2020"/>
            <ac:picMk id="8" creationId="{84C37F5E-9F3F-4D06-921C-68D2C790D332}"/>
          </ac:picMkLst>
        </pc:picChg>
        <pc:picChg chg="add mod">
          <ac:chgData name="Rishabh Mathur" userId="S::rimathur@microsoft.com::085a90ad-ff62-452d-9cc6-fb668aecc57d" providerId="AD" clId="Web-{934AC73E-BB0D-2A64-99CE-D5382754C293}" dt="2021-05-06T20:15:06.401" v="186"/>
          <ac:picMkLst>
            <pc:docMk/>
            <pc:sldMk cId="2179952507" sldId="2020"/>
            <ac:picMk id="10" creationId="{5168B7EA-721E-4766-9E22-9148296BA00C}"/>
          </ac:picMkLst>
        </pc:picChg>
        <pc:picChg chg="add mod">
          <ac:chgData name="Rishabh Mathur" userId="S::rimathur@microsoft.com::085a90ad-ff62-452d-9cc6-fb668aecc57d" providerId="AD" clId="Web-{934AC73E-BB0D-2A64-99CE-D5382754C293}" dt="2021-05-06T20:15:06.416" v="187"/>
          <ac:picMkLst>
            <pc:docMk/>
            <pc:sldMk cId="2179952507" sldId="2020"/>
            <ac:picMk id="26" creationId="{FECBBD70-F946-421C-9CFB-4BE8E529AE6D}"/>
          </ac:picMkLst>
        </pc:picChg>
        <pc:picChg chg="add mod">
          <ac:chgData name="Rishabh Mathur" userId="S::rimathur@microsoft.com::085a90ad-ff62-452d-9cc6-fb668aecc57d" providerId="AD" clId="Web-{934AC73E-BB0D-2A64-99CE-D5382754C293}" dt="2021-05-06T20:15:06.432" v="188"/>
          <ac:picMkLst>
            <pc:docMk/>
            <pc:sldMk cId="2179952507" sldId="2020"/>
            <ac:picMk id="28" creationId="{FF64CA95-5FF7-4E72-BF5C-1C22A534DBCD}"/>
          </ac:picMkLst>
        </pc:picChg>
        <pc:picChg chg="add mod">
          <ac:chgData name="Rishabh Mathur" userId="S::rimathur@microsoft.com::085a90ad-ff62-452d-9cc6-fb668aecc57d" providerId="AD" clId="Web-{934AC73E-BB0D-2A64-99CE-D5382754C293}" dt="2021-05-06T20:14:28.414" v="169"/>
          <ac:picMkLst>
            <pc:docMk/>
            <pc:sldMk cId="2179952507" sldId="2020"/>
            <ac:picMk id="30" creationId="{063A7246-81B3-4950-AF35-1DCDA72DC81C}"/>
          </ac:picMkLst>
        </pc:picChg>
        <pc:picChg chg="add mod">
          <ac:chgData name="Rishabh Mathur" userId="S::rimathur@microsoft.com::085a90ad-ff62-452d-9cc6-fb668aecc57d" providerId="AD" clId="Web-{934AC73E-BB0D-2A64-99CE-D5382754C293}" dt="2021-05-06T20:15:06.448" v="189"/>
          <ac:picMkLst>
            <pc:docMk/>
            <pc:sldMk cId="2179952507" sldId="2020"/>
            <ac:picMk id="32" creationId="{EC6FAB9A-CDC1-45E5-BA12-6302060A33FF}"/>
          </ac:picMkLst>
        </pc:picChg>
        <pc:picChg chg="add mod">
          <ac:chgData name="Rishabh Mathur" userId="S::rimathur@microsoft.com::085a90ad-ff62-452d-9cc6-fb668aecc57d" providerId="AD" clId="Web-{934AC73E-BB0D-2A64-99CE-D5382754C293}" dt="2021-05-06T20:15:06.463" v="190"/>
          <ac:picMkLst>
            <pc:docMk/>
            <pc:sldMk cId="2179952507" sldId="2020"/>
            <ac:picMk id="34" creationId="{D7650C0A-EEA0-4BEB-A2B8-7820C604EF6F}"/>
          </ac:picMkLst>
        </pc:picChg>
        <pc:picChg chg="add mod">
          <ac:chgData name="Rishabh Mathur" userId="S::rimathur@microsoft.com::085a90ad-ff62-452d-9cc6-fb668aecc57d" providerId="AD" clId="Web-{934AC73E-BB0D-2A64-99CE-D5382754C293}" dt="2021-05-06T20:14:28.414" v="159"/>
          <ac:picMkLst>
            <pc:docMk/>
            <pc:sldMk cId="2179952507" sldId="2020"/>
            <ac:picMk id="50" creationId="{5B3857BE-3113-4FD7-9C8C-91927B74F368}"/>
          </ac:picMkLst>
        </pc:picChg>
        <pc:picChg chg="add mod">
          <ac:chgData name="Rishabh Mathur" userId="S::rimathur@microsoft.com::085a90ad-ff62-452d-9cc6-fb668aecc57d" providerId="AD" clId="Web-{934AC73E-BB0D-2A64-99CE-D5382754C293}" dt="2021-05-06T20:14:28.414" v="157"/>
          <ac:picMkLst>
            <pc:docMk/>
            <pc:sldMk cId="2179952507" sldId="2020"/>
            <ac:picMk id="54" creationId="{ED34D472-1FAD-4C3E-9D56-46233BFB1810}"/>
          </ac:picMkLst>
        </pc:picChg>
      </pc:sldChg>
      <pc:sldChg chg="addSp delSp modSp new modNotes">
        <pc:chgData name="Rishabh Mathur" userId="S::rimathur@microsoft.com::085a90ad-ff62-452d-9cc6-fb668aecc57d" providerId="AD" clId="Web-{934AC73E-BB0D-2A64-99CE-D5382754C293}" dt="2021-05-06T20:38:24.333" v="378" actId="20577"/>
        <pc:sldMkLst>
          <pc:docMk/>
          <pc:sldMk cId="3327352983" sldId="2021"/>
        </pc:sldMkLst>
        <pc:spChg chg="mod">
          <ac:chgData name="Rishabh Mathur" userId="S::rimathur@microsoft.com::085a90ad-ff62-452d-9cc6-fb668aecc57d" providerId="AD" clId="Web-{934AC73E-BB0D-2A64-99CE-D5382754C293}" dt="2021-05-06T20:38:24.333" v="378" actId="20577"/>
          <ac:spMkLst>
            <pc:docMk/>
            <pc:sldMk cId="3327352983" sldId="2021"/>
            <ac:spMk id="2" creationId="{44AF655A-1427-4BCE-B897-E8441C4762B3}"/>
          </ac:spMkLst>
        </pc:spChg>
        <pc:spChg chg="mod">
          <ac:chgData name="Rishabh Mathur" userId="S::rimathur@microsoft.com::085a90ad-ff62-452d-9cc6-fb668aecc57d" providerId="AD" clId="Web-{934AC73E-BB0D-2A64-99CE-D5382754C293}" dt="2021-05-06T20:36:02.043" v="368" actId="20577"/>
          <ac:spMkLst>
            <pc:docMk/>
            <pc:sldMk cId="3327352983" sldId="2021"/>
            <ac:spMk id="3" creationId="{C9915486-ED44-4A3D-AC3D-8F716A317279}"/>
          </ac:spMkLst>
        </pc:spChg>
        <pc:spChg chg="add mod">
          <ac:chgData name="Rishabh Mathur" userId="S::rimathur@microsoft.com::085a90ad-ff62-452d-9cc6-fb668aecc57d" providerId="AD" clId="Web-{934AC73E-BB0D-2A64-99CE-D5382754C293}" dt="2021-05-06T20:36:24.279" v="372"/>
          <ac:spMkLst>
            <pc:docMk/>
            <pc:sldMk cId="3327352983" sldId="2021"/>
            <ac:spMk id="8" creationId="{F22C0FF4-DF7C-4C5B-8A35-A079AF9F010C}"/>
          </ac:spMkLst>
        </pc:spChg>
        <pc:spChg chg="add del mod">
          <ac:chgData name="Rishabh Mathur" userId="S::rimathur@microsoft.com::085a90ad-ff62-452d-9cc6-fb668aecc57d" providerId="AD" clId="Web-{934AC73E-BB0D-2A64-99CE-D5382754C293}" dt="2021-05-06T20:35:46.605" v="364"/>
          <ac:spMkLst>
            <pc:docMk/>
            <pc:sldMk cId="3327352983" sldId="2021"/>
            <ac:spMk id="10" creationId="{03735C5B-B480-4F73-8CDC-69094F81EE6A}"/>
          </ac:spMkLst>
        </pc:spChg>
        <pc:graphicFrameChg chg="add mod modGraphic">
          <ac:chgData name="Rishabh Mathur" userId="S::rimathur@microsoft.com::085a90ad-ff62-452d-9cc6-fb668aecc57d" providerId="AD" clId="Web-{934AC73E-BB0D-2A64-99CE-D5382754C293}" dt="2021-05-06T20:36:39.717" v="373" actId="1076"/>
          <ac:graphicFrameMkLst>
            <pc:docMk/>
            <pc:sldMk cId="3327352983" sldId="2021"/>
            <ac:graphicFrameMk id="5" creationId="{D9FC8785-6303-40DA-8D42-AC55CA543A5B}"/>
          </ac:graphicFrameMkLst>
        </pc:graphicFrameChg>
        <pc:graphicFrameChg chg="add mod modGraphic">
          <ac:chgData name="Rishabh Mathur" userId="S::rimathur@microsoft.com::085a90ad-ff62-452d-9cc6-fb668aecc57d" providerId="AD" clId="Web-{934AC73E-BB0D-2A64-99CE-D5382754C293}" dt="2021-05-06T20:36:11.184" v="369" actId="1076"/>
          <ac:graphicFrameMkLst>
            <pc:docMk/>
            <pc:sldMk cId="3327352983" sldId="2021"/>
            <ac:graphicFrameMk id="7" creationId="{2BD247CA-E19A-41CB-8AAD-69B2D13302A8}"/>
          </ac:graphicFrameMkLst>
        </pc:graphicFrameChg>
        <pc:graphicFrameChg chg="add del mod modGraphic">
          <ac:chgData name="Rishabh Mathur" userId="S::rimathur@microsoft.com::085a90ad-ff62-452d-9cc6-fb668aecc57d" providerId="AD" clId="Web-{934AC73E-BB0D-2A64-99CE-D5382754C293}" dt="2021-05-06T20:35:47.886" v="365"/>
          <ac:graphicFrameMkLst>
            <pc:docMk/>
            <pc:sldMk cId="3327352983" sldId="2021"/>
            <ac:graphicFrameMk id="12" creationId="{A203B0D8-8C2E-46CB-95E7-6E5361286B88}"/>
          </ac:graphicFrameMkLst>
        </pc:graphicFrameChg>
      </pc:sldChg>
      <pc:sldChg chg="addSp delSp modSp add replId">
        <pc:chgData name="Rishabh Mathur" userId="S::rimathur@microsoft.com::085a90ad-ff62-452d-9cc6-fb668aecc57d" providerId="AD" clId="Web-{934AC73E-BB0D-2A64-99CE-D5382754C293}" dt="2021-05-06T20:36:54.906" v="375" actId="1076"/>
        <pc:sldMkLst>
          <pc:docMk/>
          <pc:sldMk cId="1236316091" sldId="2022"/>
        </pc:sldMkLst>
        <pc:spChg chg="mod">
          <ac:chgData name="Rishabh Mathur" userId="S::rimathur@microsoft.com::085a90ad-ff62-452d-9cc6-fb668aecc57d" providerId="AD" clId="Web-{934AC73E-BB0D-2A64-99CE-D5382754C293}" dt="2021-05-06T20:29:58.130" v="265" actId="20577"/>
          <ac:spMkLst>
            <pc:docMk/>
            <pc:sldMk cId="1236316091" sldId="2022"/>
            <ac:spMk id="2" creationId="{44AF655A-1427-4BCE-B897-E8441C4762B3}"/>
          </ac:spMkLst>
        </pc:spChg>
        <pc:spChg chg="mod">
          <ac:chgData name="Rishabh Mathur" userId="S::rimathur@microsoft.com::085a90ad-ff62-452d-9cc6-fb668aecc57d" providerId="AD" clId="Web-{934AC73E-BB0D-2A64-99CE-D5382754C293}" dt="2021-05-06T20:30:49.930" v="273" actId="20577"/>
          <ac:spMkLst>
            <pc:docMk/>
            <pc:sldMk cId="1236316091" sldId="2022"/>
            <ac:spMk id="3" creationId="{C9915486-ED44-4A3D-AC3D-8F716A317279}"/>
          </ac:spMkLst>
        </pc:spChg>
        <pc:spChg chg="del">
          <ac:chgData name="Rishabh Mathur" userId="S::rimathur@microsoft.com::085a90ad-ff62-452d-9cc6-fb668aecc57d" providerId="AD" clId="Web-{934AC73E-BB0D-2A64-99CE-D5382754C293}" dt="2021-05-06T20:36:44.468" v="374"/>
          <ac:spMkLst>
            <pc:docMk/>
            <pc:sldMk cId="1236316091" sldId="2022"/>
            <ac:spMk id="8" creationId="{F22C0FF4-DF7C-4C5B-8A35-A079AF9F010C}"/>
          </ac:spMkLst>
        </pc:spChg>
        <pc:graphicFrameChg chg="del">
          <ac:chgData name="Rishabh Mathur" userId="S::rimathur@microsoft.com::085a90ad-ff62-452d-9cc6-fb668aecc57d" providerId="AD" clId="Web-{934AC73E-BB0D-2A64-99CE-D5382754C293}" dt="2021-05-06T20:29:09.283" v="255"/>
          <ac:graphicFrameMkLst>
            <pc:docMk/>
            <pc:sldMk cId="1236316091" sldId="2022"/>
            <ac:graphicFrameMk id="5" creationId="{D9FC8785-6303-40DA-8D42-AC55CA543A5B}"/>
          </ac:graphicFrameMkLst>
        </pc:graphicFrameChg>
        <pc:graphicFrameChg chg="add del mod">
          <ac:chgData name="Rishabh Mathur" userId="S::rimathur@microsoft.com::085a90ad-ff62-452d-9cc6-fb668aecc57d" providerId="AD" clId="Web-{934AC73E-BB0D-2A64-99CE-D5382754C293}" dt="2021-05-06T20:30:07.740" v="268"/>
          <ac:graphicFrameMkLst>
            <pc:docMk/>
            <pc:sldMk cId="1236316091" sldId="2022"/>
            <ac:graphicFrameMk id="6" creationId="{59ECA458-9D76-4CF7-9812-D0815A31845B}"/>
          </ac:graphicFrameMkLst>
        </pc:graphicFrameChg>
        <pc:graphicFrameChg chg="del">
          <ac:chgData name="Rishabh Mathur" userId="S::rimathur@microsoft.com::085a90ad-ff62-452d-9cc6-fb668aecc57d" providerId="AD" clId="Web-{934AC73E-BB0D-2A64-99CE-D5382754C293}" dt="2021-05-06T20:30:09.537" v="269"/>
          <ac:graphicFrameMkLst>
            <pc:docMk/>
            <pc:sldMk cId="1236316091" sldId="2022"/>
            <ac:graphicFrameMk id="7" creationId="{2BD247CA-E19A-41CB-8AAD-69B2D13302A8}"/>
          </ac:graphicFrameMkLst>
        </pc:graphicFrameChg>
        <pc:graphicFrameChg chg="add mod">
          <ac:chgData name="Rishabh Mathur" userId="S::rimathur@microsoft.com::085a90ad-ff62-452d-9cc6-fb668aecc57d" providerId="AD" clId="Web-{934AC73E-BB0D-2A64-99CE-D5382754C293}" dt="2021-05-06T20:36:54.906" v="375" actId="1076"/>
          <ac:graphicFrameMkLst>
            <pc:docMk/>
            <pc:sldMk cId="1236316091" sldId="2022"/>
            <ac:graphicFrameMk id="10" creationId="{5A3A12A4-DB4C-4D3C-A513-1CB5E258D8F1}"/>
          </ac:graphicFrameMkLst>
        </pc:graphicFrameChg>
      </pc:sldChg>
      <pc:sldChg chg="addSp delSp modSp add replId modNotes">
        <pc:chgData name="Rishabh Mathur" userId="S::rimathur@microsoft.com::085a90ad-ff62-452d-9cc6-fb668aecc57d" providerId="AD" clId="Web-{934AC73E-BB0D-2A64-99CE-D5382754C293}" dt="2021-05-06T20:50:47.364" v="412" actId="1076"/>
        <pc:sldMkLst>
          <pc:docMk/>
          <pc:sldMk cId="2982470999" sldId="2023"/>
        </pc:sldMkLst>
        <pc:spChg chg="mod">
          <ac:chgData name="Rishabh Mathur" userId="S::rimathur@microsoft.com::085a90ad-ff62-452d-9cc6-fb668aecc57d" providerId="AD" clId="Web-{934AC73E-BB0D-2A64-99CE-D5382754C293}" dt="2021-05-06T20:49:48.157" v="402" actId="20577"/>
          <ac:spMkLst>
            <pc:docMk/>
            <pc:sldMk cId="2982470999" sldId="2023"/>
            <ac:spMk id="2" creationId="{C962C15F-95E3-481D-A0CF-AE6555E28DA2}"/>
          </ac:spMkLst>
        </pc:spChg>
        <pc:spChg chg="mod">
          <ac:chgData name="Rishabh Mathur" userId="S::rimathur@microsoft.com::085a90ad-ff62-452d-9cc6-fb668aecc57d" providerId="AD" clId="Web-{934AC73E-BB0D-2A64-99CE-D5382754C293}" dt="2021-05-06T20:47:20.476" v="397" actId="20577"/>
          <ac:spMkLst>
            <pc:docMk/>
            <pc:sldMk cId="2982470999" sldId="2023"/>
            <ac:spMk id="5" creationId="{85009BE3-B1BD-4BF5-A2F8-829617D42196}"/>
          </ac:spMkLst>
        </pc:spChg>
        <pc:graphicFrameChg chg="add mod modGraphic">
          <ac:chgData name="Rishabh Mathur" userId="S::rimathur@microsoft.com::085a90ad-ff62-452d-9cc6-fb668aecc57d" providerId="AD" clId="Web-{934AC73E-BB0D-2A64-99CE-D5382754C293}" dt="2021-05-06T20:50:47.364" v="412" actId="1076"/>
          <ac:graphicFrameMkLst>
            <pc:docMk/>
            <pc:sldMk cId="2982470999" sldId="2023"/>
            <ac:graphicFrameMk id="9" creationId="{4CFFCDF6-8604-417C-AC47-50BE92CF91DA}"/>
          </ac:graphicFrameMkLst>
        </pc:graphicFrameChg>
        <pc:picChg chg="del">
          <ac:chgData name="Rishabh Mathur" userId="S::rimathur@microsoft.com::085a90ad-ff62-452d-9cc6-fb668aecc57d" providerId="AD" clId="Web-{934AC73E-BB0D-2A64-99CE-D5382754C293}" dt="2021-05-06T20:44:11.480" v="390"/>
          <ac:picMkLst>
            <pc:docMk/>
            <pc:sldMk cId="2982470999" sldId="2023"/>
            <ac:picMk id="3" creationId="{A540C662-7F41-41C5-8A50-990812FFCD9F}"/>
          </ac:picMkLst>
        </pc:picChg>
        <pc:picChg chg="del">
          <ac:chgData name="Rishabh Mathur" userId="S::rimathur@microsoft.com::085a90ad-ff62-452d-9cc6-fb668aecc57d" providerId="AD" clId="Web-{934AC73E-BB0D-2A64-99CE-D5382754C293}" dt="2021-05-06T20:44:12.449" v="391"/>
          <ac:picMkLst>
            <pc:docMk/>
            <pc:sldMk cId="2982470999" sldId="2023"/>
            <ac:picMk id="4" creationId="{8CAE28EB-8021-4F21-ABAF-B6605D66B2BC}"/>
          </ac:picMkLst>
        </pc:picChg>
        <pc:picChg chg="add del mod">
          <ac:chgData name="Rishabh Mathur" userId="S::rimathur@microsoft.com::085a90ad-ff62-452d-9cc6-fb668aecc57d" providerId="AD" clId="Web-{934AC73E-BB0D-2A64-99CE-D5382754C293}" dt="2021-05-06T20:49:15.937" v="401"/>
          <ac:picMkLst>
            <pc:docMk/>
            <pc:sldMk cId="2982470999" sldId="2023"/>
            <ac:picMk id="6" creationId="{0BAF74F3-F510-4069-A363-9A70E37BB6C3}"/>
          </ac:picMkLst>
        </pc:picChg>
        <pc:picChg chg="del">
          <ac:chgData name="Rishabh Mathur" userId="S::rimathur@microsoft.com::085a90ad-ff62-452d-9cc6-fb668aecc57d" providerId="AD" clId="Web-{934AC73E-BB0D-2A64-99CE-D5382754C293}" dt="2021-05-06T20:44:13.418" v="392"/>
          <ac:picMkLst>
            <pc:docMk/>
            <pc:sldMk cId="2982470999" sldId="2023"/>
            <ac:picMk id="7" creationId="{0FB86561-A419-45D4-9439-EF8EF758DAB4}"/>
          </ac:picMkLst>
        </pc:picChg>
        <pc:picChg chg="add del mod">
          <ac:chgData name="Rishabh Mathur" userId="S::rimathur@microsoft.com::085a90ad-ff62-452d-9cc6-fb668aecc57d" providerId="AD" clId="Web-{934AC73E-BB0D-2A64-99CE-D5382754C293}" dt="2021-05-06T20:49:13.436" v="400"/>
          <ac:picMkLst>
            <pc:docMk/>
            <pc:sldMk cId="2982470999" sldId="2023"/>
            <ac:picMk id="8" creationId="{2BA03DEF-F86E-4BF5-B898-9B2690BAF547}"/>
          </ac:picMkLst>
        </pc:picChg>
      </pc:sldChg>
      <pc:sldChg chg="add del replId">
        <pc:chgData name="Rishabh Mathur" userId="S::rimathur@microsoft.com::085a90ad-ff62-452d-9cc6-fb668aecc57d" providerId="AD" clId="Web-{934AC73E-BB0D-2A64-99CE-D5382754C293}" dt="2021-05-06T20:37:12.907" v="376"/>
        <pc:sldMkLst>
          <pc:docMk/>
          <pc:sldMk cId="3378786548" sldId="2023"/>
        </pc:sldMkLst>
      </pc:sldChg>
      <pc:sldMasterChg chg="add addSldLayout">
        <pc:chgData name="Rishabh Mathur" userId="S::rimathur@microsoft.com::085a90ad-ff62-452d-9cc6-fb668aecc57d" providerId="AD" clId="Web-{934AC73E-BB0D-2A64-99CE-D5382754C293}" dt="2021-05-06T20:13:19.722" v="54"/>
        <pc:sldMasterMkLst>
          <pc:docMk/>
          <pc:sldMasterMk cId="1935024835" sldId="2147484789"/>
        </pc:sldMasterMkLst>
        <pc:sldLayoutChg chg="add">
          <pc:chgData name="Rishabh Mathur" userId="S::rimathur@microsoft.com::085a90ad-ff62-452d-9cc6-fb668aecc57d" providerId="AD" clId="Web-{934AC73E-BB0D-2A64-99CE-D5382754C293}" dt="2021-05-06T20:13:19.722" v="54"/>
          <pc:sldLayoutMkLst>
            <pc:docMk/>
            <pc:sldMasterMk cId="1935024835" sldId="2147484789"/>
            <pc:sldLayoutMk cId="1491048459" sldId="2147484792"/>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784244941" sldId="2147484793"/>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922939862" sldId="2147484794"/>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723373217" sldId="2147484795"/>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585401396" sldId="2147484796"/>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622441119" sldId="2147484797"/>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269966456" sldId="2147484798"/>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3877262263" sldId="2147484799"/>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1114360543" sldId="2147484800"/>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633221895" sldId="2147484801"/>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3700226507" sldId="2147484812"/>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776304543" sldId="2147484827"/>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3186908637" sldId="2147484830"/>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3596108571" sldId="2147484900"/>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037147164" sldId="2147484902"/>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574224594" sldId="2147484936"/>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2048360039" sldId="2147484945"/>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1821556251" sldId="2147484956"/>
          </pc:sldLayoutMkLst>
        </pc:sldLayoutChg>
        <pc:sldLayoutChg chg="add">
          <pc:chgData name="Rishabh Mathur" userId="S::rimathur@microsoft.com::085a90ad-ff62-452d-9cc6-fb668aecc57d" providerId="AD" clId="Web-{934AC73E-BB0D-2A64-99CE-D5382754C293}" dt="2021-05-06T20:13:19.722" v="54"/>
          <pc:sldLayoutMkLst>
            <pc:docMk/>
            <pc:sldMasterMk cId="1935024835" sldId="2147484789"/>
            <pc:sldLayoutMk cId="3160495656" sldId="2147484957"/>
          </pc:sldLayoutMkLst>
        </pc:sldLayoutChg>
      </pc:sldMasterChg>
    </pc:docChg>
  </pc:docChgLst>
  <pc:docChgLst>
    <pc:chgData name="Guest User" providerId="Windows Live" clId="Web-{5EFA045C-EA64-4E13-893D-6A527BD8F466}"/>
    <pc:docChg chg="modSld">
      <pc:chgData name="Guest User" userId="" providerId="Windows Live" clId="Web-{5EFA045C-EA64-4E13-893D-6A527BD8F466}" dt="2020-08-23T21:57:07.534" v="5"/>
      <pc:docMkLst>
        <pc:docMk/>
      </pc:docMkLst>
      <pc:sldChg chg="modSp">
        <pc:chgData name="Guest User" userId="" providerId="Windows Live" clId="Web-{5EFA045C-EA64-4E13-893D-6A527BD8F466}" dt="2020-08-23T21:57:07.534" v="5"/>
        <pc:sldMkLst>
          <pc:docMk/>
          <pc:sldMk cId="102007623" sldId="1995"/>
        </pc:sldMkLst>
        <pc:spChg chg="mod">
          <ac:chgData name="Guest User" userId="" providerId="Windows Live" clId="Web-{5EFA045C-EA64-4E13-893D-6A527BD8F466}" dt="2020-08-23T21:56:44.971" v="0" actId="20577"/>
          <ac:spMkLst>
            <pc:docMk/>
            <pc:sldMk cId="102007623" sldId="1995"/>
            <ac:spMk id="58" creationId="{2888D511-49B9-40D5-B041-692A174B8BA2}"/>
          </ac:spMkLst>
        </pc:spChg>
        <pc:spChg chg="mod">
          <ac:chgData name="Guest User" userId="" providerId="Windows Live" clId="Web-{5EFA045C-EA64-4E13-893D-6A527BD8F466}" dt="2020-08-23T21:56:55.783" v="3"/>
          <ac:spMkLst>
            <pc:docMk/>
            <pc:sldMk cId="102007623" sldId="1995"/>
            <ac:spMk id="124" creationId="{08196825-5917-40C9-9CBE-C21712F31715}"/>
          </ac:spMkLst>
        </pc:spChg>
        <pc:spChg chg="mod">
          <ac:chgData name="Guest User" userId="" providerId="Windows Live" clId="Web-{5EFA045C-EA64-4E13-893D-6A527BD8F466}" dt="2020-08-23T21:57:02.455" v="4"/>
          <ac:spMkLst>
            <pc:docMk/>
            <pc:sldMk cId="102007623" sldId="1995"/>
            <ac:spMk id="125" creationId="{4B906160-35A0-42D9-802A-ED72F56F5EE0}"/>
          </ac:spMkLst>
        </pc:spChg>
        <pc:spChg chg="mod">
          <ac:chgData name="Guest User" userId="" providerId="Windows Live" clId="Web-{5EFA045C-EA64-4E13-893D-6A527BD8F466}" dt="2020-08-23T21:57:07.534" v="5"/>
          <ac:spMkLst>
            <pc:docMk/>
            <pc:sldMk cId="102007623" sldId="1995"/>
            <ac:spMk id="126" creationId="{5B7B2569-909B-450D-A1B6-097F56AA578D}"/>
          </ac:spMkLst>
        </pc:spChg>
      </pc:sldChg>
    </pc:docChg>
  </pc:docChgLst>
  <pc:docChgLst>
    <pc:chgData name="Ethan Irons" userId="6f6e2f01-ea19-4a4a-bc47-1e970a349fc0" providerId="ADAL" clId="{09E2A34B-8F4A-4A6F-9F4F-F652F17A21A0}"/>
    <pc:docChg chg="modSld">
      <pc:chgData name="Ethan Irons" userId="6f6e2f01-ea19-4a4a-bc47-1e970a349fc0" providerId="ADAL" clId="{09E2A34B-8F4A-4A6F-9F4F-F652F17A21A0}" dt="2021-10-26T22:26:12.847" v="5" actId="729"/>
      <pc:docMkLst>
        <pc:docMk/>
      </pc:docMkLst>
      <pc:sldChg chg="mod modShow">
        <pc:chgData name="Ethan Irons" userId="6f6e2f01-ea19-4a4a-bc47-1e970a349fc0" providerId="ADAL" clId="{09E2A34B-8F4A-4A6F-9F4F-F652F17A21A0}" dt="2021-10-26T22:25:57.124" v="0" actId="729"/>
        <pc:sldMkLst>
          <pc:docMk/>
          <pc:sldMk cId="2196428951" sldId="2008"/>
        </pc:sldMkLst>
      </pc:sldChg>
      <pc:sldChg chg="mod modShow">
        <pc:chgData name="Ethan Irons" userId="6f6e2f01-ea19-4a4a-bc47-1e970a349fc0" providerId="ADAL" clId="{09E2A34B-8F4A-4A6F-9F4F-F652F17A21A0}" dt="2021-10-26T22:25:59.847" v="1" actId="729"/>
        <pc:sldMkLst>
          <pc:docMk/>
          <pc:sldMk cId="2167425751" sldId="2009"/>
        </pc:sldMkLst>
      </pc:sldChg>
      <pc:sldChg chg="mod modShow">
        <pc:chgData name="Ethan Irons" userId="6f6e2f01-ea19-4a4a-bc47-1e970a349fc0" providerId="ADAL" clId="{09E2A34B-8F4A-4A6F-9F4F-F652F17A21A0}" dt="2021-10-26T22:26:03.355" v="2" actId="729"/>
        <pc:sldMkLst>
          <pc:docMk/>
          <pc:sldMk cId="608112121" sldId="2010"/>
        </pc:sldMkLst>
      </pc:sldChg>
      <pc:sldChg chg="mod modShow">
        <pc:chgData name="Ethan Irons" userId="6f6e2f01-ea19-4a4a-bc47-1e970a349fc0" providerId="ADAL" clId="{09E2A34B-8F4A-4A6F-9F4F-F652F17A21A0}" dt="2021-10-26T22:26:10.485" v="4" actId="729"/>
        <pc:sldMkLst>
          <pc:docMk/>
          <pc:sldMk cId="4108220385" sldId="2012"/>
        </pc:sldMkLst>
      </pc:sldChg>
      <pc:sldChg chg="mod modShow">
        <pc:chgData name="Ethan Irons" userId="6f6e2f01-ea19-4a4a-bc47-1e970a349fc0" providerId="ADAL" clId="{09E2A34B-8F4A-4A6F-9F4F-F652F17A21A0}" dt="2021-10-26T22:26:06.670" v="3" actId="729"/>
        <pc:sldMkLst>
          <pc:docMk/>
          <pc:sldMk cId="1120387613" sldId="2013"/>
        </pc:sldMkLst>
      </pc:sldChg>
      <pc:sldChg chg="mod modShow">
        <pc:chgData name="Ethan Irons" userId="6f6e2f01-ea19-4a4a-bc47-1e970a349fc0" providerId="ADAL" clId="{09E2A34B-8F4A-4A6F-9F4F-F652F17A21A0}" dt="2021-10-26T22:26:12.847" v="5" actId="729"/>
        <pc:sldMkLst>
          <pc:docMk/>
          <pc:sldMk cId="601930279" sldId="2024"/>
        </pc:sldMkLst>
      </pc:sldChg>
    </pc:docChg>
  </pc:docChgLst>
  <pc:docChgLst>
    <pc:chgData name="Rishabh Mathur" userId="S::rimathur@microsoft.com::085a90ad-ff62-452d-9cc6-fb668aecc57d" providerId="AD" clId="Web-{C552C59F-9069-0000-D565-AC1BAEADCCB6}"/>
    <pc:docChg chg="addSld delSld modSld">
      <pc:chgData name="Rishabh Mathur" userId="S::rimathur@microsoft.com::085a90ad-ff62-452d-9cc6-fb668aecc57d" providerId="AD" clId="Web-{C552C59F-9069-0000-D565-AC1BAEADCCB6}" dt="2021-05-06T19:36:31.881" v="218" actId="20577"/>
      <pc:docMkLst>
        <pc:docMk/>
      </pc:docMkLst>
      <pc:sldChg chg="addSp modSp new del modNotes">
        <pc:chgData name="Rishabh Mathur" userId="S::rimathur@microsoft.com::085a90ad-ff62-452d-9cc6-fb668aecc57d" providerId="AD" clId="Web-{C552C59F-9069-0000-D565-AC1BAEADCCB6}" dt="2021-05-06T19:18:46.751" v="209"/>
        <pc:sldMkLst>
          <pc:docMk/>
          <pc:sldMk cId="1233449332" sldId="2014"/>
        </pc:sldMkLst>
        <pc:spChg chg="mod">
          <ac:chgData name="Rishabh Mathur" userId="S::rimathur@microsoft.com::085a90ad-ff62-452d-9cc6-fb668aecc57d" providerId="AD" clId="Web-{C552C59F-9069-0000-D565-AC1BAEADCCB6}" dt="2021-05-06T19:01:56.063" v="147" actId="20577"/>
          <ac:spMkLst>
            <pc:docMk/>
            <pc:sldMk cId="1233449332" sldId="2014"/>
            <ac:spMk id="2" creationId="{D7F67CA1-9423-4348-8974-B23A83C79E70}"/>
          </ac:spMkLst>
        </pc:spChg>
        <pc:spChg chg="mod">
          <ac:chgData name="Rishabh Mathur" userId="S::rimathur@microsoft.com::085a90ad-ff62-452d-9cc6-fb668aecc57d" providerId="AD" clId="Web-{C552C59F-9069-0000-D565-AC1BAEADCCB6}" dt="2021-05-06T19:01:05.982" v="139" actId="20577"/>
          <ac:spMkLst>
            <pc:docMk/>
            <pc:sldMk cId="1233449332" sldId="2014"/>
            <ac:spMk id="3" creationId="{489699A7-D307-4415-B9A0-6B0128F6F7D8}"/>
          </ac:spMkLst>
        </pc:spChg>
        <pc:picChg chg="add mod">
          <ac:chgData name="Rishabh Mathur" userId="S::rimathur@microsoft.com::085a90ad-ff62-452d-9cc6-fb668aecc57d" providerId="AD" clId="Web-{C552C59F-9069-0000-D565-AC1BAEADCCB6}" dt="2021-05-06T19:01:17.529" v="143" actId="14100"/>
          <ac:picMkLst>
            <pc:docMk/>
            <pc:sldMk cId="1233449332" sldId="2014"/>
            <ac:picMk id="4" creationId="{11A5DC22-6AFA-4CCB-A2B1-82F713A9049C}"/>
          </ac:picMkLst>
        </pc:picChg>
      </pc:sldChg>
      <pc:sldChg chg="addSp modSp add replId modNotes">
        <pc:chgData name="Rishabh Mathur" userId="S::rimathur@microsoft.com::085a90ad-ff62-452d-9cc6-fb668aecc57d" providerId="AD" clId="Web-{C552C59F-9069-0000-D565-AC1BAEADCCB6}" dt="2021-05-06T19:18:17.484" v="208"/>
        <pc:sldMkLst>
          <pc:docMk/>
          <pc:sldMk cId="2994554156" sldId="2015"/>
        </pc:sldMkLst>
        <pc:spChg chg="mod">
          <ac:chgData name="Rishabh Mathur" userId="S::rimathur@microsoft.com::085a90ad-ff62-452d-9cc6-fb668aecc57d" providerId="AD" clId="Web-{C552C59F-9069-0000-D565-AC1BAEADCCB6}" dt="2021-05-06T19:02:12.376" v="152" actId="20577"/>
          <ac:spMkLst>
            <pc:docMk/>
            <pc:sldMk cId="2994554156" sldId="2015"/>
            <ac:spMk id="2" creationId="{D7F67CA1-9423-4348-8974-B23A83C79E70}"/>
          </ac:spMkLst>
        </pc:spChg>
        <pc:spChg chg="mod">
          <ac:chgData name="Rishabh Mathur" userId="S::rimathur@microsoft.com::085a90ad-ff62-452d-9cc6-fb668aecc57d" providerId="AD" clId="Web-{C552C59F-9069-0000-D565-AC1BAEADCCB6}" dt="2021-05-06T19:03:33.788" v="179" actId="20577"/>
          <ac:spMkLst>
            <pc:docMk/>
            <pc:sldMk cId="2994554156" sldId="2015"/>
            <ac:spMk id="3" creationId="{489699A7-D307-4415-B9A0-6B0128F6F7D8}"/>
          </ac:spMkLst>
        </pc:spChg>
        <pc:picChg chg="mod">
          <ac:chgData name="Rishabh Mathur" userId="S::rimathur@microsoft.com::085a90ad-ff62-452d-9cc6-fb668aecc57d" providerId="AD" clId="Web-{C552C59F-9069-0000-D565-AC1BAEADCCB6}" dt="2021-05-06T19:04:12.650" v="205" actId="1076"/>
          <ac:picMkLst>
            <pc:docMk/>
            <pc:sldMk cId="2994554156" sldId="2015"/>
            <ac:picMk id="4" creationId="{11A5DC22-6AFA-4CCB-A2B1-82F713A9049C}"/>
          </ac:picMkLst>
        </pc:picChg>
        <pc:picChg chg="add mod">
          <ac:chgData name="Rishabh Mathur" userId="S::rimathur@microsoft.com::085a90ad-ff62-452d-9cc6-fb668aecc57d" providerId="AD" clId="Web-{C552C59F-9069-0000-D565-AC1BAEADCCB6}" dt="2021-05-06T19:07:25.193" v="207" actId="1076"/>
          <ac:picMkLst>
            <pc:docMk/>
            <pc:sldMk cId="2994554156" sldId="2015"/>
            <ac:picMk id="5" creationId="{16BB2590-C649-4145-A7D5-A24CB103D270}"/>
          </ac:picMkLst>
        </pc:picChg>
      </pc:sldChg>
      <pc:sldChg chg="modSp new">
        <pc:chgData name="Rishabh Mathur" userId="S::rimathur@microsoft.com::085a90ad-ff62-452d-9cc6-fb668aecc57d" providerId="AD" clId="Web-{C552C59F-9069-0000-D565-AC1BAEADCCB6}" dt="2021-05-06T19:28:39.038" v="213" actId="20577"/>
        <pc:sldMkLst>
          <pc:docMk/>
          <pc:sldMk cId="279157146" sldId="2016"/>
        </pc:sldMkLst>
        <pc:spChg chg="mod">
          <ac:chgData name="Rishabh Mathur" userId="S::rimathur@microsoft.com::085a90ad-ff62-452d-9cc6-fb668aecc57d" providerId="AD" clId="Web-{C552C59F-9069-0000-D565-AC1BAEADCCB6}" dt="2021-05-06T19:28:39.038" v="213" actId="20577"/>
          <ac:spMkLst>
            <pc:docMk/>
            <pc:sldMk cId="279157146" sldId="2016"/>
            <ac:spMk id="2" creationId="{9C9EB481-07D4-4392-9DE5-D0678F93BAF6}"/>
          </ac:spMkLst>
        </pc:spChg>
      </pc:sldChg>
      <pc:sldChg chg="modSp add replId">
        <pc:chgData name="Rishabh Mathur" userId="S::rimathur@microsoft.com::085a90ad-ff62-452d-9cc6-fb668aecc57d" providerId="AD" clId="Web-{C552C59F-9069-0000-D565-AC1BAEADCCB6}" dt="2021-05-06T19:36:31.881" v="218" actId="20577"/>
        <pc:sldMkLst>
          <pc:docMk/>
          <pc:sldMk cId="2046959756" sldId="2017"/>
        </pc:sldMkLst>
        <pc:spChg chg="mod">
          <ac:chgData name="Rishabh Mathur" userId="S::rimathur@microsoft.com::085a90ad-ff62-452d-9cc6-fb668aecc57d" providerId="AD" clId="Web-{C552C59F-9069-0000-D565-AC1BAEADCCB6}" dt="2021-05-06T19:36:31.881" v="218" actId="20577"/>
          <ac:spMkLst>
            <pc:docMk/>
            <pc:sldMk cId="2046959756" sldId="2017"/>
            <ac:spMk id="2" creationId="{4B90FCF2-EECD-430D-9A80-C888748FFCE6}"/>
          </ac:spMkLst>
        </pc:spChg>
      </pc:sldChg>
    </pc:docChg>
  </pc:docChgLst>
  <pc:docChgLst>
    <pc:chgData name="Guest User" providerId="Windows Live" clId="Web-{1CA25272-7389-473C-B207-E178EFC5BA88}"/>
    <pc:docChg chg="addSld delSld modSld sldOrd addMainMaster">
      <pc:chgData name="Guest User" userId="" providerId="Windows Live" clId="Web-{1CA25272-7389-473C-B207-E178EFC5BA88}" dt="2020-08-23T21:50:36.484" v="23"/>
      <pc:docMkLst>
        <pc:docMk/>
      </pc:docMkLst>
      <pc:sldChg chg="addSp delSp modSp mod setBg">
        <pc:chgData name="Guest User" userId="" providerId="Windows Live" clId="Web-{1CA25272-7389-473C-B207-E178EFC5BA88}" dt="2020-08-23T21:47:24.112" v="20"/>
        <pc:sldMkLst>
          <pc:docMk/>
          <pc:sldMk cId="1325058836" sldId="256"/>
        </pc:sldMkLst>
        <pc:spChg chg="add del">
          <ac:chgData name="Guest User" userId="" providerId="Windows Live" clId="Web-{1CA25272-7389-473C-B207-E178EFC5BA88}" dt="2020-08-23T21:42:33.577" v="6"/>
          <ac:spMkLst>
            <pc:docMk/>
            <pc:sldMk cId="1325058836" sldId="256"/>
            <ac:spMk id="2" creationId="{7B876C23-F025-4E5F-BAD9-7DFEE668B383}"/>
          </ac:spMkLst>
        </pc:spChg>
        <pc:spChg chg="mod">
          <ac:chgData name="Guest User" userId="" providerId="Windows Live" clId="Web-{1CA25272-7389-473C-B207-E178EFC5BA88}" dt="2020-08-23T21:47:24.112" v="20"/>
          <ac:spMkLst>
            <pc:docMk/>
            <pc:sldMk cId="1325058836" sldId="256"/>
            <ac:spMk id="6" creationId="{00000000-0000-0000-0000-000000000000}"/>
          </ac:spMkLst>
        </pc:spChg>
      </pc:sldChg>
      <pc:sldChg chg="del">
        <pc:chgData name="Guest User" userId="" providerId="Windows Live" clId="Web-{1CA25272-7389-473C-B207-E178EFC5BA88}" dt="2020-08-23T21:49:57.731" v="21"/>
        <pc:sldMkLst>
          <pc:docMk/>
          <pc:sldMk cId="1076368552" sldId="276"/>
        </pc:sldMkLst>
      </pc:sldChg>
      <pc:sldChg chg="add ord">
        <pc:chgData name="Guest User" userId="" providerId="Windows Live" clId="Web-{1CA25272-7389-473C-B207-E178EFC5BA88}" dt="2020-08-23T21:50:36.484" v="23"/>
        <pc:sldMkLst>
          <pc:docMk/>
          <pc:sldMk cId="1726115058" sldId="2006"/>
        </pc:sldMkLst>
      </pc:sldChg>
      <pc:sldMasterChg chg="add addSldLayout">
        <pc:chgData name="Guest User" userId="" providerId="Windows Live" clId="Web-{1CA25272-7389-473C-B207-E178EFC5BA88}" dt="2020-08-23T21:50:22.889" v="22"/>
        <pc:sldMasterMkLst>
          <pc:docMk/>
          <pc:sldMasterMk cId="3138866671" sldId="2147483990"/>
        </pc:sldMasterMkLst>
        <pc:sldLayoutChg chg="add">
          <pc:chgData name="Guest User" userId="" providerId="Windows Live" clId="Web-{1CA25272-7389-473C-B207-E178EFC5BA88}" dt="2020-08-23T21:50:22.889" v="22"/>
          <pc:sldLayoutMkLst>
            <pc:docMk/>
            <pc:sldMasterMk cId="3138866671" sldId="2147483990"/>
            <pc:sldLayoutMk cId="1225445844" sldId="2147483991"/>
          </pc:sldLayoutMkLst>
        </pc:sldLayoutChg>
        <pc:sldLayoutChg chg="add">
          <pc:chgData name="Guest User" userId="" providerId="Windows Live" clId="Web-{1CA25272-7389-473C-B207-E178EFC5BA88}" dt="2020-08-23T21:50:22.889" v="22"/>
          <pc:sldLayoutMkLst>
            <pc:docMk/>
            <pc:sldMasterMk cId="3138866671" sldId="2147483990"/>
            <pc:sldLayoutMk cId="2128073608" sldId="2147483992"/>
          </pc:sldLayoutMkLst>
        </pc:sldLayoutChg>
        <pc:sldLayoutChg chg="add">
          <pc:chgData name="Guest User" userId="" providerId="Windows Live" clId="Web-{1CA25272-7389-473C-B207-E178EFC5BA88}" dt="2020-08-23T21:50:22.889" v="22"/>
          <pc:sldLayoutMkLst>
            <pc:docMk/>
            <pc:sldMasterMk cId="3138866671" sldId="2147483990"/>
            <pc:sldLayoutMk cId="2611871824" sldId="2147483993"/>
          </pc:sldLayoutMkLst>
        </pc:sldLayoutChg>
        <pc:sldLayoutChg chg="add">
          <pc:chgData name="Guest User" userId="" providerId="Windows Live" clId="Web-{1CA25272-7389-473C-B207-E178EFC5BA88}" dt="2020-08-23T21:50:22.889" v="22"/>
          <pc:sldLayoutMkLst>
            <pc:docMk/>
            <pc:sldMasterMk cId="3138866671" sldId="2147483990"/>
            <pc:sldLayoutMk cId="2381726192" sldId="2147483994"/>
          </pc:sldLayoutMkLst>
        </pc:sldLayoutChg>
        <pc:sldLayoutChg chg="add">
          <pc:chgData name="Guest User" userId="" providerId="Windows Live" clId="Web-{1CA25272-7389-473C-B207-E178EFC5BA88}" dt="2020-08-23T21:50:22.889" v="22"/>
          <pc:sldLayoutMkLst>
            <pc:docMk/>
            <pc:sldMasterMk cId="3138866671" sldId="2147483990"/>
            <pc:sldLayoutMk cId="3633400075" sldId="2147483995"/>
          </pc:sldLayoutMkLst>
        </pc:sldLayoutChg>
        <pc:sldLayoutChg chg="add">
          <pc:chgData name="Guest User" userId="" providerId="Windows Live" clId="Web-{1CA25272-7389-473C-B207-E178EFC5BA88}" dt="2020-08-23T21:50:22.889" v="22"/>
          <pc:sldLayoutMkLst>
            <pc:docMk/>
            <pc:sldMasterMk cId="3138866671" sldId="2147483990"/>
            <pc:sldLayoutMk cId="1025559163" sldId="2147483996"/>
          </pc:sldLayoutMkLst>
        </pc:sldLayoutChg>
        <pc:sldLayoutChg chg="add">
          <pc:chgData name="Guest User" userId="" providerId="Windows Live" clId="Web-{1CA25272-7389-473C-B207-E178EFC5BA88}" dt="2020-08-23T21:50:22.889" v="22"/>
          <pc:sldLayoutMkLst>
            <pc:docMk/>
            <pc:sldMasterMk cId="3138866671" sldId="2147483990"/>
            <pc:sldLayoutMk cId="978647275" sldId="2147483997"/>
          </pc:sldLayoutMkLst>
        </pc:sldLayoutChg>
        <pc:sldLayoutChg chg="add">
          <pc:chgData name="Guest User" userId="" providerId="Windows Live" clId="Web-{1CA25272-7389-473C-B207-E178EFC5BA88}" dt="2020-08-23T21:50:22.889" v="22"/>
          <pc:sldLayoutMkLst>
            <pc:docMk/>
            <pc:sldMasterMk cId="3138866671" sldId="2147483990"/>
            <pc:sldLayoutMk cId="3116855824" sldId="2147483998"/>
          </pc:sldLayoutMkLst>
        </pc:sldLayoutChg>
        <pc:sldLayoutChg chg="add">
          <pc:chgData name="Guest User" userId="" providerId="Windows Live" clId="Web-{1CA25272-7389-473C-B207-E178EFC5BA88}" dt="2020-08-23T21:50:22.889" v="22"/>
          <pc:sldLayoutMkLst>
            <pc:docMk/>
            <pc:sldMasterMk cId="3138866671" sldId="2147483990"/>
            <pc:sldLayoutMk cId="3566546305" sldId="2147483999"/>
          </pc:sldLayoutMkLst>
        </pc:sldLayoutChg>
        <pc:sldLayoutChg chg="add">
          <pc:chgData name="Guest User" userId="" providerId="Windows Live" clId="Web-{1CA25272-7389-473C-B207-E178EFC5BA88}" dt="2020-08-23T21:50:22.889" v="22"/>
          <pc:sldLayoutMkLst>
            <pc:docMk/>
            <pc:sldMasterMk cId="3138866671" sldId="2147483990"/>
            <pc:sldLayoutMk cId="1401725589" sldId="2147484000"/>
          </pc:sldLayoutMkLst>
        </pc:sldLayoutChg>
        <pc:sldLayoutChg chg="add">
          <pc:chgData name="Guest User" userId="" providerId="Windows Live" clId="Web-{1CA25272-7389-473C-B207-E178EFC5BA88}" dt="2020-08-23T21:50:22.889" v="22"/>
          <pc:sldLayoutMkLst>
            <pc:docMk/>
            <pc:sldMasterMk cId="3138866671" sldId="2147483990"/>
            <pc:sldLayoutMk cId="1716957870" sldId="2147484001"/>
          </pc:sldLayoutMkLst>
        </pc:sldLayoutChg>
        <pc:sldLayoutChg chg="add">
          <pc:chgData name="Guest User" userId="" providerId="Windows Live" clId="Web-{1CA25272-7389-473C-B207-E178EFC5BA88}" dt="2020-08-23T21:50:22.889" v="22"/>
          <pc:sldLayoutMkLst>
            <pc:docMk/>
            <pc:sldMasterMk cId="3138866671" sldId="2147483990"/>
            <pc:sldLayoutMk cId="482717613" sldId="2147484002"/>
          </pc:sldLayoutMkLst>
        </pc:sldLayoutChg>
        <pc:sldLayoutChg chg="add">
          <pc:chgData name="Guest User" userId="" providerId="Windows Live" clId="Web-{1CA25272-7389-473C-B207-E178EFC5BA88}" dt="2020-08-23T21:50:22.889" v="22"/>
          <pc:sldLayoutMkLst>
            <pc:docMk/>
            <pc:sldMasterMk cId="3138866671" sldId="2147483990"/>
            <pc:sldLayoutMk cId="1508755777" sldId="2147484003"/>
          </pc:sldLayoutMkLst>
        </pc:sldLayoutChg>
        <pc:sldLayoutChg chg="add">
          <pc:chgData name="Guest User" userId="" providerId="Windows Live" clId="Web-{1CA25272-7389-473C-B207-E178EFC5BA88}" dt="2020-08-23T21:50:22.889" v="22"/>
          <pc:sldLayoutMkLst>
            <pc:docMk/>
            <pc:sldMasterMk cId="3138866671" sldId="2147483990"/>
            <pc:sldLayoutMk cId="756118918" sldId="2147484004"/>
          </pc:sldLayoutMkLst>
        </pc:sldLayoutChg>
        <pc:sldLayoutChg chg="add">
          <pc:chgData name="Guest User" userId="" providerId="Windows Live" clId="Web-{1CA25272-7389-473C-B207-E178EFC5BA88}" dt="2020-08-23T21:50:22.889" v="22"/>
          <pc:sldLayoutMkLst>
            <pc:docMk/>
            <pc:sldMasterMk cId="3138866671" sldId="2147483990"/>
            <pc:sldLayoutMk cId="434779669" sldId="2147484005"/>
          </pc:sldLayoutMkLst>
        </pc:sldLayoutChg>
        <pc:sldLayoutChg chg="add">
          <pc:chgData name="Guest User" userId="" providerId="Windows Live" clId="Web-{1CA25272-7389-473C-B207-E178EFC5BA88}" dt="2020-08-23T21:50:22.889" v="22"/>
          <pc:sldLayoutMkLst>
            <pc:docMk/>
            <pc:sldMasterMk cId="3138866671" sldId="2147483990"/>
            <pc:sldLayoutMk cId="3370073269" sldId="2147484006"/>
          </pc:sldLayoutMkLst>
        </pc:sldLayoutChg>
        <pc:sldLayoutChg chg="add">
          <pc:chgData name="Guest User" userId="" providerId="Windows Live" clId="Web-{1CA25272-7389-473C-B207-E178EFC5BA88}" dt="2020-08-23T21:50:22.889" v="22"/>
          <pc:sldLayoutMkLst>
            <pc:docMk/>
            <pc:sldMasterMk cId="3138866671" sldId="2147483990"/>
            <pc:sldLayoutMk cId="1641343874" sldId="2147484007"/>
          </pc:sldLayoutMkLst>
        </pc:sldLayoutChg>
        <pc:sldLayoutChg chg="add">
          <pc:chgData name="Guest User" userId="" providerId="Windows Live" clId="Web-{1CA25272-7389-473C-B207-E178EFC5BA88}" dt="2020-08-23T21:50:22.889" v="22"/>
          <pc:sldLayoutMkLst>
            <pc:docMk/>
            <pc:sldMasterMk cId="3138866671" sldId="2147483990"/>
            <pc:sldLayoutMk cId="2216216901" sldId="2147484008"/>
          </pc:sldLayoutMkLst>
        </pc:sldLayoutChg>
        <pc:sldLayoutChg chg="add">
          <pc:chgData name="Guest User" userId="" providerId="Windows Live" clId="Web-{1CA25272-7389-473C-B207-E178EFC5BA88}" dt="2020-08-23T21:50:22.889" v="22"/>
          <pc:sldLayoutMkLst>
            <pc:docMk/>
            <pc:sldMasterMk cId="3138866671" sldId="2147483990"/>
            <pc:sldLayoutMk cId="3320697965" sldId="2147484009"/>
          </pc:sldLayoutMkLst>
        </pc:sldLayoutChg>
        <pc:sldLayoutChg chg="add">
          <pc:chgData name="Guest User" userId="" providerId="Windows Live" clId="Web-{1CA25272-7389-473C-B207-E178EFC5BA88}" dt="2020-08-23T21:50:22.889" v="22"/>
          <pc:sldLayoutMkLst>
            <pc:docMk/>
            <pc:sldMasterMk cId="3138866671" sldId="2147483990"/>
            <pc:sldLayoutMk cId="2881002593" sldId="2147484010"/>
          </pc:sldLayoutMkLst>
        </pc:sldLayoutChg>
        <pc:sldLayoutChg chg="add">
          <pc:chgData name="Guest User" userId="" providerId="Windows Live" clId="Web-{1CA25272-7389-473C-B207-E178EFC5BA88}" dt="2020-08-23T21:50:22.889" v="22"/>
          <pc:sldLayoutMkLst>
            <pc:docMk/>
            <pc:sldMasterMk cId="3138866671" sldId="2147483990"/>
            <pc:sldLayoutMk cId="3491582711" sldId="2147484011"/>
          </pc:sldLayoutMkLst>
        </pc:sldLayoutChg>
        <pc:sldLayoutChg chg="add">
          <pc:chgData name="Guest User" userId="" providerId="Windows Live" clId="Web-{1CA25272-7389-473C-B207-E178EFC5BA88}" dt="2020-08-23T21:50:22.889" v="22"/>
          <pc:sldLayoutMkLst>
            <pc:docMk/>
            <pc:sldMasterMk cId="3138866671" sldId="2147483990"/>
            <pc:sldLayoutMk cId="526330969" sldId="2147484012"/>
          </pc:sldLayoutMkLst>
        </pc:sldLayoutChg>
        <pc:sldLayoutChg chg="add">
          <pc:chgData name="Guest User" userId="" providerId="Windows Live" clId="Web-{1CA25272-7389-473C-B207-E178EFC5BA88}" dt="2020-08-23T21:50:22.889" v="22"/>
          <pc:sldLayoutMkLst>
            <pc:docMk/>
            <pc:sldMasterMk cId="3138866671" sldId="2147483990"/>
            <pc:sldLayoutMk cId="2353817919" sldId="2147484013"/>
          </pc:sldLayoutMkLst>
        </pc:sldLayoutChg>
        <pc:sldLayoutChg chg="add">
          <pc:chgData name="Guest User" userId="" providerId="Windows Live" clId="Web-{1CA25272-7389-473C-B207-E178EFC5BA88}" dt="2020-08-23T21:50:22.889" v="22"/>
          <pc:sldLayoutMkLst>
            <pc:docMk/>
            <pc:sldMasterMk cId="3138866671" sldId="2147483990"/>
            <pc:sldLayoutMk cId="2570858718" sldId="2147484014"/>
          </pc:sldLayoutMkLst>
        </pc:sldLayoutChg>
        <pc:sldLayoutChg chg="add">
          <pc:chgData name="Guest User" userId="" providerId="Windows Live" clId="Web-{1CA25272-7389-473C-B207-E178EFC5BA88}" dt="2020-08-23T21:50:22.889" v="22"/>
          <pc:sldLayoutMkLst>
            <pc:docMk/>
            <pc:sldMasterMk cId="3138866671" sldId="2147483990"/>
            <pc:sldLayoutMk cId="1130694076" sldId="2147484015"/>
          </pc:sldLayoutMkLst>
        </pc:sldLayoutChg>
        <pc:sldLayoutChg chg="add">
          <pc:chgData name="Guest User" userId="" providerId="Windows Live" clId="Web-{1CA25272-7389-473C-B207-E178EFC5BA88}" dt="2020-08-23T21:50:22.889" v="22"/>
          <pc:sldLayoutMkLst>
            <pc:docMk/>
            <pc:sldMasterMk cId="3138866671" sldId="2147483990"/>
            <pc:sldLayoutMk cId="1924444472" sldId="2147484016"/>
          </pc:sldLayoutMkLst>
        </pc:sldLayoutChg>
        <pc:sldLayoutChg chg="add">
          <pc:chgData name="Guest User" userId="" providerId="Windows Live" clId="Web-{1CA25272-7389-473C-B207-E178EFC5BA88}" dt="2020-08-23T21:50:22.889" v="22"/>
          <pc:sldLayoutMkLst>
            <pc:docMk/>
            <pc:sldMasterMk cId="3138866671" sldId="2147483990"/>
            <pc:sldLayoutMk cId="3237381773" sldId="2147484017"/>
          </pc:sldLayoutMkLst>
        </pc:sldLayoutChg>
        <pc:sldLayoutChg chg="add">
          <pc:chgData name="Guest User" userId="" providerId="Windows Live" clId="Web-{1CA25272-7389-473C-B207-E178EFC5BA88}" dt="2020-08-23T21:50:22.889" v="22"/>
          <pc:sldLayoutMkLst>
            <pc:docMk/>
            <pc:sldMasterMk cId="3138866671" sldId="2147483990"/>
            <pc:sldLayoutMk cId="119041650" sldId="2147484018"/>
          </pc:sldLayoutMkLst>
        </pc:sldLayoutChg>
        <pc:sldLayoutChg chg="add">
          <pc:chgData name="Guest User" userId="" providerId="Windows Live" clId="Web-{1CA25272-7389-473C-B207-E178EFC5BA88}" dt="2020-08-23T21:50:22.889" v="22"/>
          <pc:sldLayoutMkLst>
            <pc:docMk/>
            <pc:sldMasterMk cId="3138866671" sldId="2147483990"/>
            <pc:sldLayoutMk cId="1876849995" sldId="2147484019"/>
          </pc:sldLayoutMkLst>
        </pc:sldLayoutChg>
        <pc:sldLayoutChg chg="add">
          <pc:chgData name="Guest User" userId="" providerId="Windows Live" clId="Web-{1CA25272-7389-473C-B207-E178EFC5BA88}" dt="2020-08-23T21:50:22.889" v="22"/>
          <pc:sldLayoutMkLst>
            <pc:docMk/>
            <pc:sldMasterMk cId="3138866671" sldId="2147483990"/>
            <pc:sldLayoutMk cId="2442093490" sldId="2147484020"/>
          </pc:sldLayoutMkLst>
        </pc:sldLayoutChg>
        <pc:sldLayoutChg chg="add">
          <pc:chgData name="Guest User" userId="" providerId="Windows Live" clId="Web-{1CA25272-7389-473C-B207-E178EFC5BA88}" dt="2020-08-23T21:50:22.889" v="22"/>
          <pc:sldLayoutMkLst>
            <pc:docMk/>
            <pc:sldMasterMk cId="3138866671" sldId="2147483990"/>
            <pc:sldLayoutMk cId="523462488" sldId="2147484021"/>
          </pc:sldLayoutMkLst>
        </pc:sldLayoutChg>
        <pc:sldLayoutChg chg="add">
          <pc:chgData name="Guest User" userId="" providerId="Windows Live" clId="Web-{1CA25272-7389-473C-B207-E178EFC5BA88}" dt="2020-08-23T21:50:22.889" v="22"/>
          <pc:sldLayoutMkLst>
            <pc:docMk/>
            <pc:sldMasterMk cId="3138866671" sldId="2147483990"/>
            <pc:sldLayoutMk cId="3912418055" sldId="2147484022"/>
          </pc:sldLayoutMkLst>
        </pc:sldLayoutChg>
        <pc:sldLayoutChg chg="add">
          <pc:chgData name="Guest User" userId="" providerId="Windows Live" clId="Web-{1CA25272-7389-473C-B207-E178EFC5BA88}" dt="2020-08-23T21:50:22.889" v="22"/>
          <pc:sldLayoutMkLst>
            <pc:docMk/>
            <pc:sldMasterMk cId="3138866671" sldId="2147483990"/>
            <pc:sldLayoutMk cId="1300962889" sldId="2147484023"/>
          </pc:sldLayoutMkLst>
        </pc:sldLayoutChg>
        <pc:sldLayoutChg chg="add">
          <pc:chgData name="Guest User" userId="" providerId="Windows Live" clId="Web-{1CA25272-7389-473C-B207-E178EFC5BA88}" dt="2020-08-23T21:50:22.889" v="22"/>
          <pc:sldLayoutMkLst>
            <pc:docMk/>
            <pc:sldMasterMk cId="3138866671" sldId="2147483990"/>
            <pc:sldLayoutMk cId="2484416189" sldId="2147484024"/>
          </pc:sldLayoutMkLst>
        </pc:sldLayoutChg>
        <pc:sldLayoutChg chg="add">
          <pc:chgData name="Guest User" userId="" providerId="Windows Live" clId="Web-{1CA25272-7389-473C-B207-E178EFC5BA88}" dt="2020-08-23T21:50:22.889" v="22"/>
          <pc:sldLayoutMkLst>
            <pc:docMk/>
            <pc:sldMasterMk cId="3138866671" sldId="2147483990"/>
            <pc:sldLayoutMk cId="618353612" sldId="2147484025"/>
          </pc:sldLayoutMkLst>
        </pc:sldLayoutChg>
        <pc:sldLayoutChg chg="add">
          <pc:chgData name="Guest User" userId="" providerId="Windows Live" clId="Web-{1CA25272-7389-473C-B207-E178EFC5BA88}" dt="2020-08-23T21:50:22.889" v="22"/>
          <pc:sldLayoutMkLst>
            <pc:docMk/>
            <pc:sldMasterMk cId="3138866671" sldId="2147483990"/>
            <pc:sldLayoutMk cId="1184326568" sldId="2147484026"/>
          </pc:sldLayoutMkLst>
        </pc:sldLayoutChg>
        <pc:sldLayoutChg chg="add">
          <pc:chgData name="Guest User" userId="" providerId="Windows Live" clId="Web-{1CA25272-7389-473C-B207-E178EFC5BA88}" dt="2020-08-23T21:50:22.889" v="22"/>
          <pc:sldLayoutMkLst>
            <pc:docMk/>
            <pc:sldMasterMk cId="3138866671" sldId="2147483990"/>
            <pc:sldLayoutMk cId="3795046949" sldId="2147484027"/>
          </pc:sldLayoutMkLst>
        </pc:sldLayoutChg>
        <pc:sldLayoutChg chg="add">
          <pc:chgData name="Guest User" userId="" providerId="Windows Live" clId="Web-{1CA25272-7389-473C-B207-E178EFC5BA88}" dt="2020-08-23T21:50:22.889" v="22"/>
          <pc:sldLayoutMkLst>
            <pc:docMk/>
            <pc:sldMasterMk cId="3138866671" sldId="2147483990"/>
            <pc:sldLayoutMk cId="1831624703" sldId="2147484028"/>
          </pc:sldLayoutMkLst>
        </pc:sldLayoutChg>
        <pc:sldLayoutChg chg="add">
          <pc:chgData name="Guest User" userId="" providerId="Windows Live" clId="Web-{1CA25272-7389-473C-B207-E178EFC5BA88}" dt="2020-08-23T21:50:22.889" v="22"/>
          <pc:sldLayoutMkLst>
            <pc:docMk/>
            <pc:sldMasterMk cId="3138866671" sldId="2147483990"/>
            <pc:sldLayoutMk cId="3255432458" sldId="2147484029"/>
          </pc:sldLayoutMkLst>
        </pc:sldLayoutChg>
        <pc:sldLayoutChg chg="add">
          <pc:chgData name="Guest User" userId="" providerId="Windows Live" clId="Web-{1CA25272-7389-473C-B207-E178EFC5BA88}" dt="2020-08-23T21:50:22.889" v="22"/>
          <pc:sldLayoutMkLst>
            <pc:docMk/>
            <pc:sldMasterMk cId="3138866671" sldId="2147483990"/>
            <pc:sldLayoutMk cId="774246453" sldId="2147484030"/>
          </pc:sldLayoutMkLst>
        </pc:sldLayoutChg>
        <pc:sldLayoutChg chg="add">
          <pc:chgData name="Guest User" userId="" providerId="Windows Live" clId="Web-{1CA25272-7389-473C-B207-E178EFC5BA88}" dt="2020-08-23T21:50:22.889" v="22"/>
          <pc:sldLayoutMkLst>
            <pc:docMk/>
            <pc:sldMasterMk cId="3138866671" sldId="2147483990"/>
            <pc:sldLayoutMk cId="1847334346" sldId="2147484031"/>
          </pc:sldLayoutMkLst>
        </pc:sldLayoutChg>
        <pc:sldLayoutChg chg="add">
          <pc:chgData name="Guest User" userId="" providerId="Windows Live" clId="Web-{1CA25272-7389-473C-B207-E178EFC5BA88}" dt="2020-08-23T21:50:22.889" v="22"/>
          <pc:sldLayoutMkLst>
            <pc:docMk/>
            <pc:sldMasterMk cId="3138866671" sldId="2147483990"/>
            <pc:sldLayoutMk cId="161492002" sldId="2147484032"/>
          </pc:sldLayoutMkLst>
        </pc:sldLayoutChg>
        <pc:sldLayoutChg chg="add">
          <pc:chgData name="Guest User" userId="" providerId="Windows Live" clId="Web-{1CA25272-7389-473C-B207-E178EFC5BA88}" dt="2020-08-23T21:50:22.889" v="22"/>
          <pc:sldLayoutMkLst>
            <pc:docMk/>
            <pc:sldMasterMk cId="3138866671" sldId="2147483990"/>
            <pc:sldLayoutMk cId="349658073" sldId="2147484033"/>
          </pc:sldLayoutMkLst>
        </pc:sldLayoutChg>
        <pc:sldLayoutChg chg="add">
          <pc:chgData name="Guest User" userId="" providerId="Windows Live" clId="Web-{1CA25272-7389-473C-B207-E178EFC5BA88}" dt="2020-08-23T21:50:22.889" v="22"/>
          <pc:sldLayoutMkLst>
            <pc:docMk/>
            <pc:sldMasterMk cId="3138866671" sldId="2147483990"/>
            <pc:sldLayoutMk cId="238762808" sldId="2147484034"/>
          </pc:sldLayoutMkLst>
        </pc:sldLayoutChg>
      </pc:sldMasterChg>
    </pc:docChg>
  </pc:docChgLst>
  <pc:docChgLst>
    <pc:chgData name="Rishabh Mathur" userId="S::rimathur@microsoft.com::085a90ad-ff62-452d-9cc6-fb668aecc57d" providerId="AD" clId="Web-{38633167-347F-2D1F-D775-5066BFA52BFB}"/>
    <pc:docChg chg="delSld">
      <pc:chgData name="Rishabh Mathur" userId="S::rimathur@microsoft.com::085a90ad-ff62-452d-9cc6-fb668aecc57d" providerId="AD" clId="Web-{38633167-347F-2D1F-D775-5066BFA52BFB}" dt="2020-11-05T17:53:35.294" v="0"/>
      <pc:docMkLst>
        <pc:docMk/>
      </pc:docMkLst>
      <pc:sldChg chg="del">
        <pc:chgData name="Rishabh Mathur" userId="S::rimathur@microsoft.com::085a90ad-ff62-452d-9cc6-fb668aecc57d" providerId="AD" clId="Web-{38633167-347F-2D1F-D775-5066BFA52BFB}" dt="2020-11-05T17:53:35.294" v="0"/>
        <pc:sldMkLst>
          <pc:docMk/>
          <pc:sldMk cId="341693129" sldId="2007"/>
        </pc:sldMkLst>
      </pc:sldChg>
    </pc:docChg>
  </pc:docChgLst>
  <pc:docChgLst>
    <pc:chgData name="Alison Yeh" userId="S::alye@microsoft.com::86d98d7c-5861-42c0-9426-3e74a9b3ea79" providerId="AD" clId="Web-{984BF3B4-085E-BA52-0C81-8886A4580C6E}"/>
    <pc:docChg chg="modSld">
      <pc:chgData name="Alison Yeh" userId="S::alye@microsoft.com::86d98d7c-5861-42c0-9426-3e74a9b3ea79" providerId="AD" clId="Web-{984BF3B4-085E-BA52-0C81-8886A4580C6E}" dt="2020-11-03T02:12:42.527" v="5" actId="20577"/>
      <pc:docMkLst>
        <pc:docMk/>
      </pc:docMkLst>
      <pc:sldChg chg="modSp">
        <pc:chgData name="Alison Yeh" userId="S::alye@microsoft.com::86d98d7c-5861-42c0-9426-3e74a9b3ea79" providerId="AD" clId="Web-{984BF3B4-085E-BA52-0C81-8886A4580C6E}" dt="2020-11-03T02:12:42.527" v="5" actId="20577"/>
        <pc:sldMkLst>
          <pc:docMk/>
          <pc:sldMk cId="1325058836" sldId="256"/>
        </pc:sldMkLst>
        <pc:spChg chg="mod">
          <ac:chgData name="Alison Yeh" userId="S::alye@microsoft.com::86d98d7c-5861-42c0-9426-3e74a9b3ea79" providerId="AD" clId="Web-{984BF3B4-085E-BA52-0C81-8886A4580C6E}" dt="2020-11-03T02:12:42.527" v="5" actId="20577"/>
          <ac:spMkLst>
            <pc:docMk/>
            <pc:sldMk cId="1325058836" sldId="256"/>
            <ac:spMk id="6" creationId="{00000000-0000-0000-0000-000000000000}"/>
          </ac:spMkLst>
        </pc:spChg>
      </pc:sldChg>
    </pc:docChg>
  </pc:docChgLst>
  <pc:docChgLst>
    <pc:chgData name="Christopher Weaver" userId="2d47d5c7-389a-4b91-8fc5-dfad12ad20c7" providerId="ADAL" clId="{49736F4C-E420-4B3F-9845-0B050AF5F406}"/>
    <pc:docChg chg="custSel modSld">
      <pc:chgData name="Christopher Weaver" userId="2d47d5c7-389a-4b91-8fc5-dfad12ad20c7" providerId="ADAL" clId="{49736F4C-E420-4B3F-9845-0B050AF5F406}" dt="2020-06-25T14:01:22.192" v="12" actId="478"/>
      <pc:docMkLst>
        <pc:docMk/>
      </pc:docMkLst>
      <pc:sldChg chg="delSp mod">
        <pc:chgData name="Christopher Weaver" userId="2d47d5c7-389a-4b91-8fc5-dfad12ad20c7" providerId="ADAL" clId="{49736F4C-E420-4B3F-9845-0B050AF5F406}" dt="2020-06-25T13:58:00.018" v="0" actId="478"/>
        <pc:sldMkLst>
          <pc:docMk/>
          <pc:sldMk cId="829854860" sldId="1994"/>
        </pc:sldMkLst>
        <pc:spChg chg="del">
          <ac:chgData name="Christopher Weaver" userId="2d47d5c7-389a-4b91-8fc5-dfad12ad20c7" providerId="ADAL" clId="{49736F4C-E420-4B3F-9845-0B050AF5F406}" dt="2020-06-25T13:58:00.018" v="0" actId="478"/>
          <ac:spMkLst>
            <pc:docMk/>
            <pc:sldMk cId="829854860" sldId="1994"/>
            <ac:spMk id="3" creationId="{B366DBEB-39FC-41F7-ABA7-643FBB5AFCC2}"/>
          </ac:spMkLst>
        </pc:spChg>
      </pc:sldChg>
      <pc:sldChg chg="delSp mod addCm delCm modCm">
        <pc:chgData name="Christopher Weaver" userId="2d47d5c7-389a-4b91-8fc5-dfad12ad20c7" providerId="ADAL" clId="{49736F4C-E420-4B3F-9845-0B050AF5F406}" dt="2020-06-25T13:59:20.885" v="4" actId="1592"/>
        <pc:sldMkLst>
          <pc:docMk/>
          <pc:sldMk cId="102007623" sldId="1995"/>
        </pc:sldMkLst>
        <pc:spChg chg="del">
          <ac:chgData name="Christopher Weaver" userId="2d47d5c7-389a-4b91-8fc5-dfad12ad20c7" providerId="ADAL" clId="{49736F4C-E420-4B3F-9845-0B050AF5F406}" dt="2020-06-25T13:58:28.441" v="1" actId="478"/>
          <ac:spMkLst>
            <pc:docMk/>
            <pc:sldMk cId="102007623" sldId="1995"/>
            <ac:spMk id="2" creationId="{E8AEFA7D-8CFE-4996-ADBC-F1BF10B3EAF9}"/>
          </ac:spMkLst>
        </pc:spChg>
      </pc:sldChg>
      <pc:sldChg chg="delSp mod">
        <pc:chgData name="Christopher Weaver" userId="2d47d5c7-389a-4b91-8fc5-dfad12ad20c7" providerId="ADAL" clId="{49736F4C-E420-4B3F-9845-0B050AF5F406}" dt="2020-06-25T13:59:54.383" v="5" actId="478"/>
        <pc:sldMkLst>
          <pc:docMk/>
          <pc:sldMk cId="2875695618" sldId="1996"/>
        </pc:sldMkLst>
        <pc:spChg chg="del">
          <ac:chgData name="Christopher Weaver" userId="2d47d5c7-389a-4b91-8fc5-dfad12ad20c7" providerId="ADAL" clId="{49736F4C-E420-4B3F-9845-0B050AF5F406}" dt="2020-06-25T13:59:54.383" v="5" actId="478"/>
          <ac:spMkLst>
            <pc:docMk/>
            <pc:sldMk cId="2875695618" sldId="1996"/>
            <ac:spMk id="3" creationId="{86BC5F6A-8465-43F1-9A91-99D3584735C5}"/>
          </ac:spMkLst>
        </pc:spChg>
      </pc:sldChg>
      <pc:sldChg chg="delSp mod">
        <pc:chgData name="Christopher Weaver" userId="2d47d5c7-389a-4b91-8fc5-dfad12ad20c7" providerId="ADAL" clId="{49736F4C-E420-4B3F-9845-0B050AF5F406}" dt="2020-06-25T14:00:09.860" v="6" actId="478"/>
        <pc:sldMkLst>
          <pc:docMk/>
          <pc:sldMk cId="3612004523" sldId="1997"/>
        </pc:sldMkLst>
        <pc:spChg chg="del">
          <ac:chgData name="Christopher Weaver" userId="2d47d5c7-389a-4b91-8fc5-dfad12ad20c7" providerId="ADAL" clId="{49736F4C-E420-4B3F-9845-0B050AF5F406}" dt="2020-06-25T14:00:09.860" v="6" actId="478"/>
          <ac:spMkLst>
            <pc:docMk/>
            <pc:sldMk cId="3612004523" sldId="1997"/>
            <ac:spMk id="7" creationId="{B1C6CC34-BFD3-4E18-BA3D-05F7194DE6C6}"/>
          </ac:spMkLst>
        </pc:spChg>
      </pc:sldChg>
      <pc:sldChg chg="delSp mod">
        <pc:chgData name="Christopher Weaver" userId="2d47d5c7-389a-4b91-8fc5-dfad12ad20c7" providerId="ADAL" clId="{49736F4C-E420-4B3F-9845-0B050AF5F406}" dt="2020-06-25T14:00:18.272" v="7" actId="478"/>
        <pc:sldMkLst>
          <pc:docMk/>
          <pc:sldMk cId="4009327331" sldId="1998"/>
        </pc:sldMkLst>
        <pc:spChg chg="del">
          <ac:chgData name="Christopher Weaver" userId="2d47d5c7-389a-4b91-8fc5-dfad12ad20c7" providerId="ADAL" clId="{49736F4C-E420-4B3F-9845-0B050AF5F406}" dt="2020-06-25T14:00:18.272" v="7" actId="478"/>
          <ac:spMkLst>
            <pc:docMk/>
            <pc:sldMk cId="4009327331" sldId="1998"/>
            <ac:spMk id="2" creationId="{F9ACD297-C7E3-465A-AF5F-25A499F70BA3}"/>
          </ac:spMkLst>
        </pc:spChg>
      </pc:sldChg>
      <pc:sldChg chg="delSp mod">
        <pc:chgData name="Christopher Weaver" userId="2d47d5c7-389a-4b91-8fc5-dfad12ad20c7" providerId="ADAL" clId="{49736F4C-E420-4B3F-9845-0B050AF5F406}" dt="2020-06-25T14:00:44.828" v="9" actId="478"/>
        <pc:sldMkLst>
          <pc:docMk/>
          <pc:sldMk cId="1491234068" sldId="1999"/>
        </pc:sldMkLst>
        <pc:spChg chg="del">
          <ac:chgData name="Christopher Weaver" userId="2d47d5c7-389a-4b91-8fc5-dfad12ad20c7" providerId="ADAL" clId="{49736F4C-E420-4B3F-9845-0B050AF5F406}" dt="2020-06-25T14:00:44.828" v="9" actId="478"/>
          <ac:spMkLst>
            <pc:docMk/>
            <pc:sldMk cId="1491234068" sldId="1999"/>
            <ac:spMk id="6" creationId="{0996AA0F-3003-4D8E-976F-0338F02336D1}"/>
          </ac:spMkLst>
        </pc:spChg>
      </pc:sldChg>
      <pc:sldChg chg="delSp mod">
        <pc:chgData name="Christopher Weaver" userId="2d47d5c7-389a-4b91-8fc5-dfad12ad20c7" providerId="ADAL" clId="{49736F4C-E420-4B3F-9845-0B050AF5F406}" dt="2020-06-25T14:00:51.683" v="10" actId="478"/>
        <pc:sldMkLst>
          <pc:docMk/>
          <pc:sldMk cId="3816319392" sldId="2000"/>
        </pc:sldMkLst>
        <pc:spChg chg="del">
          <ac:chgData name="Christopher Weaver" userId="2d47d5c7-389a-4b91-8fc5-dfad12ad20c7" providerId="ADAL" clId="{49736F4C-E420-4B3F-9845-0B050AF5F406}" dt="2020-06-25T14:00:51.683" v="10" actId="478"/>
          <ac:spMkLst>
            <pc:docMk/>
            <pc:sldMk cId="3816319392" sldId="2000"/>
            <ac:spMk id="2" creationId="{1943E643-897E-4958-A10D-58F30BC146FE}"/>
          </ac:spMkLst>
        </pc:spChg>
      </pc:sldChg>
      <pc:sldChg chg="delSp mod">
        <pc:chgData name="Christopher Weaver" userId="2d47d5c7-389a-4b91-8fc5-dfad12ad20c7" providerId="ADAL" clId="{49736F4C-E420-4B3F-9845-0B050AF5F406}" dt="2020-06-25T14:00:37.605" v="8" actId="478"/>
        <pc:sldMkLst>
          <pc:docMk/>
          <pc:sldMk cId="3916075055" sldId="2001"/>
        </pc:sldMkLst>
        <pc:spChg chg="del">
          <ac:chgData name="Christopher Weaver" userId="2d47d5c7-389a-4b91-8fc5-dfad12ad20c7" providerId="ADAL" clId="{49736F4C-E420-4B3F-9845-0B050AF5F406}" dt="2020-06-25T14:00:37.605" v="8" actId="478"/>
          <ac:spMkLst>
            <pc:docMk/>
            <pc:sldMk cId="3916075055" sldId="2001"/>
            <ac:spMk id="3" creationId="{19DCBB24-9757-476E-9ED0-336B1D3B4460}"/>
          </ac:spMkLst>
        </pc:spChg>
      </pc:sldChg>
      <pc:sldChg chg="delSp mod">
        <pc:chgData name="Christopher Weaver" userId="2d47d5c7-389a-4b91-8fc5-dfad12ad20c7" providerId="ADAL" clId="{49736F4C-E420-4B3F-9845-0B050AF5F406}" dt="2020-06-25T14:01:11.478" v="11" actId="478"/>
        <pc:sldMkLst>
          <pc:docMk/>
          <pc:sldMk cId="989663208" sldId="2002"/>
        </pc:sldMkLst>
        <pc:spChg chg="del">
          <ac:chgData name="Christopher Weaver" userId="2d47d5c7-389a-4b91-8fc5-dfad12ad20c7" providerId="ADAL" clId="{49736F4C-E420-4B3F-9845-0B050AF5F406}" dt="2020-06-25T14:01:11.478" v="11" actId="478"/>
          <ac:spMkLst>
            <pc:docMk/>
            <pc:sldMk cId="989663208" sldId="2002"/>
            <ac:spMk id="3" creationId="{1186B97C-156C-4FD7-AC5C-5B391CE0AD22}"/>
          </ac:spMkLst>
        </pc:spChg>
      </pc:sldChg>
      <pc:sldChg chg="delSp mod">
        <pc:chgData name="Christopher Weaver" userId="2d47d5c7-389a-4b91-8fc5-dfad12ad20c7" providerId="ADAL" clId="{49736F4C-E420-4B3F-9845-0B050AF5F406}" dt="2020-06-25T14:01:22.192" v="12" actId="478"/>
        <pc:sldMkLst>
          <pc:docMk/>
          <pc:sldMk cId="3314700211" sldId="2003"/>
        </pc:sldMkLst>
        <pc:spChg chg="del">
          <ac:chgData name="Christopher Weaver" userId="2d47d5c7-389a-4b91-8fc5-dfad12ad20c7" providerId="ADAL" clId="{49736F4C-E420-4B3F-9845-0B050AF5F406}" dt="2020-06-25T14:01:22.192" v="12" actId="478"/>
          <ac:spMkLst>
            <pc:docMk/>
            <pc:sldMk cId="3314700211" sldId="2003"/>
            <ac:spMk id="3" creationId="{5058A9B3-9C07-467B-BBEE-11BF65197C36}"/>
          </ac:spMkLst>
        </pc:spChg>
      </pc:sldChg>
    </pc:docChg>
  </pc:docChgLst>
  <pc:docChgLst>
    <pc:chgData name="Guest User" providerId="Windows Live" clId="Web-{969DCF3B-6CE0-46EF-88F4-A2628AA5CD21}"/>
    <pc:docChg chg="addSld modSld">
      <pc:chgData name="Guest User" userId="" providerId="Windows Live" clId="Web-{969DCF3B-6CE0-46EF-88F4-A2628AA5CD21}" dt="2020-08-24T22:14:49.348" v="7"/>
      <pc:docMkLst>
        <pc:docMk/>
      </pc:docMkLst>
      <pc:sldChg chg="modSp mod setBg">
        <pc:chgData name="Guest User" userId="" providerId="Windows Live" clId="Web-{969DCF3B-6CE0-46EF-88F4-A2628AA5CD21}" dt="2020-08-24T21:31:09.867" v="4" actId="20577"/>
        <pc:sldMkLst>
          <pc:docMk/>
          <pc:sldMk cId="1675654522" sldId="1993"/>
        </pc:sldMkLst>
        <pc:spChg chg="mod">
          <ac:chgData name="Guest User" userId="" providerId="Windows Live" clId="Web-{969DCF3B-6CE0-46EF-88F4-A2628AA5CD21}" dt="2020-08-24T21:31:09.867" v="4" actId="20577"/>
          <ac:spMkLst>
            <pc:docMk/>
            <pc:sldMk cId="1675654522" sldId="1993"/>
            <ac:spMk id="2" creationId="{C412911D-CE3F-4DB3-847D-31A13A2A1E57}"/>
          </ac:spMkLst>
        </pc:spChg>
      </pc:sldChg>
      <pc:sldChg chg="new">
        <pc:chgData name="Guest User" userId="" providerId="Windows Live" clId="Web-{969DCF3B-6CE0-46EF-88F4-A2628AA5CD21}" dt="2020-08-24T22:14:49.348" v="7"/>
        <pc:sldMkLst>
          <pc:docMk/>
          <pc:sldMk cId="341693129" sldId="2007"/>
        </pc:sldMkLst>
      </pc:sldChg>
    </pc:docChg>
  </pc:docChgLst>
  <pc:docChgLst>
    <pc:chgData name="Ki'Yona McClary" userId="S::kmcclary@microsoft.com::492bc8e0-e31d-42f8-9b7a-81eef03d1dc4" providerId="AD" clId="Web-{3104B19F-F014-0000-D567-E9D1FDB1BC7F}"/>
    <pc:docChg chg="addSld delSld modSld">
      <pc:chgData name="Ki'Yona McClary" userId="S::kmcclary@microsoft.com::492bc8e0-e31d-42f8-9b7a-81eef03d1dc4" providerId="AD" clId="Web-{3104B19F-F014-0000-D567-E9D1FDB1BC7F}" dt="2021-03-04T17:43:25.986" v="242" actId="1076"/>
      <pc:docMkLst>
        <pc:docMk/>
      </pc:docMkLst>
      <pc:sldChg chg="modSp">
        <pc:chgData name="Ki'Yona McClary" userId="S::kmcclary@microsoft.com::492bc8e0-e31d-42f8-9b7a-81eef03d1dc4" providerId="AD" clId="Web-{3104B19F-F014-0000-D567-E9D1FDB1BC7F}" dt="2021-03-04T16:34:00.543" v="0" actId="20577"/>
        <pc:sldMkLst>
          <pc:docMk/>
          <pc:sldMk cId="2355728576" sldId="278"/>
        </pc:sldMkLst>
        <pc:spChg chg="mod">
          <ac:chgData name="Ki'Yona McClary" userId="S::kmcclary@microsoft.com::492bc8e0-e31d-42f8-9b7a-81eef03d1dc4" providerId="AD" clId="Web-{3104B19F-F014-0000-D567-E9D1FDB1BC7F}" dt="2021-03-04T16:34:00.543" v="0" actId="20577"/>
          <ac:spMkLst>
            <pc:docMk/>
            <pc:sldMk cId="2355728576" sldId="278"/>
            <ac:spMk id="3" creationId="{4C7B2818-D4B6-49AF-BC6D-48A87C308A7A}"/>
          </ac:spMkLst>
        </pc:spChg>
      </pc:sldChg>
      <pc:sldChg chg="modSp">
        <pc:chgData name="Ki'Yona McClary" userId="S::kmcclary@microsoft.com::492bc8e0-e31d-42f8-9b7a-81eef03d1dc4" providerId="AD" clId="Web-{3104B19F-F014-0000-D567-E9D1FDB1BC7F}" dt="2021-03-04T17:31:00.388" v="213" actId="20577"/>
        <pc:sldMkLst>
          <pc:docMk/>
          <pc:sldMk cId="3716265243" sldId="1966"/>
        </pc:sldMkLst>
        <pc:spChg chg="mod">
          <ac:chgData name="Ki'Yona McClary" userId="S::kmcclary@microsoft.com::492bc8e0-e31d-42f8-9b7a-81eef03d1dc4" providerId="AD" clId="Web-{3104B19F-F014-0000-D567-E9D1FDB1BC7F}" dt="2021-03-04T17:31:00.388" v="213" actId="20577"/>
          <ac:spMkLst>
            <pc:docMk/>
            <pc:sldMk cId="3716265243" sldId="1966"/>
            <ac:spMk id="2" creationId="{C962C15F-95E3-481D-A0CF-AE6555E28DA2}"/>
          </ac:spMkLst>
        </pc:spChg>
      </pc:sldChg>
      <pc:sldChg chg="modNotes">
        <pc:chgData name="Ki'Yona McClary" userId="S::kmcclary@microsoft.com::492bc8e0-e31d-42f8-9b7a-81eef03d1dc4" providerId="AD" clId="Web-{3104B19F-F014-0000-D567-E9D1FDB1BC7F}" dt="2021-03-04T16:35:27.952" v="1"/>
        <pc:sldMkLst>
          <pc:docMk/>
          <pc:sldMk cId="102007623" sldId="1995"/>
        </pc:sldMkLst>
      </pc:sldChg>
      <pc:sldChg chg="addSp delSp modSp modNotes">
        <pc:chgData name="Ki'Yona McClary" userId="S::kmcclary@microsoft.com::492bc8e0-e31d-42f8-9b7a-81eef03d1dc4" providerId="AD" clId="Web-{3104B19F-F014-0000-D567-E9D1FDB1BC7F}" dt="2021-03-04T16:45:44.328" v="39"/>
        <pc:sldMkLst>
          <pc:docMk/>
          <pc:sldMk cId="2875695618" sldId="1996"/>
        </pc:sldMkLst>
        <pc:spChg chg="mod">
          <ac:chgData name="Ki'Yona McClary" userId="S::kmcclary@microsoft.com::492bc8e0-e31d-42f8-9b7a-81eef03d1dc4" providerId="AD" clId="Web-{3104B19F-F014-0000-D567-E9D1FDB1BC7F}" dt="2021-03-04T16:36:42.032" v="8" actId="20577"/>
          <ac:spMkLst>
            <pc:docMk/>
            <pc:sldMk cId="2875695618" sldId="1996"/>
            <ac:spMk id="2" creationId="{82E1F057-4164-4917-9DC7-1568A4EDC3E7}"/>
          </ac:spMkLst>
        </pc:spChg>
        <pc:picChg chg="add del mod modCrop">
          <ac:chgData name="Ki'Yona McClary" userId="S::kmcclary@microsoft.com::492bc8e0-e31d-42f8-9b7a-81eef03d1dc4" providerId="AD" clId="Web-{3104B19F-F014-0000-D567-E9D1FDB1BC7F}" dt="2021-03-04T16:43:07.574" v="28"/>
          <ac:picMkLst>
            <pc:docMk/>
            <pc:sldMk cId="2875695618" sldId="1996"/>
            <ac:picMk id="3" creationId="{2EFB9268-F323-47B1-A7D6-9E86EAC68DEC}"/>
          </ac:picMkLst>
        </pc:picChg>
        <pc:picChg chg="add mod">
          <ac:chgData name="Ki'Yona McClary" userId="S::kmcclary@microsoft.com::492bc8e0-e31d-42f8-9b7a-81eef03d1dc4" providerId="AD" clId="Web-{3104B19F-F014-0000-D567-E9D1FDB1BC7F}" dt="2021-03-04T16:43:27.668" v="35" actId="1076"/>
          <ac:picMkLst>
            <pc:docMk/>
            <pc:sldMk cId="2875695618" sldId="1996"/>
            <ac:picMk id="4" creationId="{E45C4B4C-7371-4C9E-870C-F6EF1C192C6C}"/>
          </ac:picMkLst>
        </pc:picChg>
        <pc:picChg chg="add del">
          <ac:chgData name="Ki'Yona McClary" userId="S::kmcclary@microsoft.com::492bc8e0-e31d-42f8-9b7a-81eef03d1dc4" providerId="AD" clId="Web-{3104B19F-F014-0000-D567-E9D1FDB1BC7F}" dt="2021-03-04T16:39:09.442" v="15"/>
          <ac:picMkLst>
            <pc:docMk/>
            <pc:sldMk cId="2875695618" sldId="1996"/>
            <ac:picMk id="5" creationId="{CF9B75BC-F886-4CFE-83A0-3495CAC325AB}"/>
          </ac:picMkLst>
        </pc:picChg>
      </pc:sldChg>
      <pc:sldChg chg="addSp delSp modSp">
        <pc:chgData name="Ki'Yona McClary" userId="S::kmcclary@microsoft.com::492bc8e0-e31d-42f8-9b7a-81eef03d1dc4" providerId="AD" clId="Web-{3104B19F-F014-0000-D567-E9D1FDB1BC7F}" dt="2021-03-04T17:26:15.505" v="211" actId="1076"/>
        <pc:sldMkLst>
          <pc:docMk/>
          <pc:sldMk cId="3612004523" sldId="1997"/>
        </pc:sldMkLst>
        <pc:spChg chg="mod">
          <ac:chgData name="Ki'Yona McClary" userId="S::kmcclary@microsoft.com::492bc8e0-e31d-42f8-9b7a-81eef03d1dc4" providerId="AD" clId="Web-{3104B19F-F014-0000-D567-E9D1FDB1BC7F}" dt="2021-03-04T17:25:24.003" v="159" actId="1076"/>
          <ac:spMkLst>
            <pc:docMk/>
            <pc:sldMk cId="3612004523" sldId="1997"/>
            <ac:spMk id="2" creationId="{82E1F057-4164-4917-9DC7-1568A4EDC3E7}"/>
          </ac:spMkLst>
        </pc:spChg>
        <pc:spChg chg="add mod">
          <ac:chgData name="Ki'Yona McClary" userId="S::kmcclary@microsoft.com::492bc8e0-e31d-42f8-9b7a-81eef03d1dc4" providerId="AD" clId="Web-{3104B19F-F014-0000-D567-E9D1FDB1BC7F}" dt="2021-03-04T17:26:15.505" v="211" actId="1076"/>
          <ac:spMkLst>
            <pc:docMk/>
            <pc:sldMk cId="3612004523" sldId="1997"/>
            <ac:spMk id="9" creationId="{9E1766E7-7E89-4069-BD5F-5C6AE8594A41}"/>
          </ac:spMkLst>
        </pc:spChg>
        <pc:spChg chg="add mod">
          <ac:chgData name="Ki'Yona McClary" userId="S::kmcclary@microsoft.com::492bc8e0-e31d-42f8-9b7a-81eef03d1dc4" providerId="AD" clId="Web-{3104B19F-F014-0000-D567-E9D1FDB1BC7F}" dt="2021-03-04T17:25:44.160" v="205" actId="1076"/>
          <ac:spMkLst>
            <pc:docMk/>
            <pc:sldMk cId="3612004523" sldId="1997"/>
            <ac:spMk id="11" creationId="{40A9B32F-4DA3-46C4-BF17-4B830039FE44}"/>
          </ac:spMkLst>
        </pc:spChg>
        <pc:spChg chg="add mod">
          <ac:chgData name="Ki'Yona McClary" userId="S::kmcclary@microsoft.com::492bc8e0-e31d-42f8-9b7a-81eef03d1dc4" providerId="AD" clId="Web-{3104B19F-F014-0000-D567-E9D1FDB1BC7F}" dt="2021-03-04T17:25:44.191" v="207" actId="1076"/>
          <ac:spMkLst>
            <pc:docMk/>
            <pc:sldMk cId="3612004523" sldId="1997"/>
            <ac:spMk id="13" creationId="{2B126222-A210-4A1E-9A5E-F21CF76814D6}"/>
          </ac:spMkLst>
        </pc:spChg>
        <pc:picChg chg="add mod modCrop">
          <ac:chgData name="Ki'Yona McClary" userId="S::kmcclary@microsoft.com::492bc8e0-e31d-42f8-9b7a-81eef03d1dc4" providerId="AD" clId="Web-{3104B19F-F014-0000-D567-E9D1FDB1BC7F}" dt="2021-03-04T17:25:56.020" v="208" actId="1076"/>
          <ac:picMkLst>
            <pc:docMk/>
            <pc:sldMk cId="3612004523" sldId="1997"/>
            <ac:picMk id="3" creationId="{87D49655-ABFE-418C-A9DF-6C9404C4720E}"/>
          </ac:picMkLst>
        </pc:picChg>
        <pc:picChg chg="del">
          <ac:chgData name="Ki'Yona McClary" userId="S::kmcclary@microsoft.com::492bc8e0-e31d-42f8-9b7a-81eef03d1dc4" providerId="AD" clId="Web-{3104B19F-F014-0000-D567-E9D1FDB1BC7F}" dt="2021-03-04T16:51:20.103" v="57"/>
          <ac:picMkLst>
            <pc:docMk/>
            <pc:sldMk cId="3612004523" sldId="1997"/>
            <ac:picMk id="8" creationId="{F52DFE2E-669B-482C-99BD-DE9DC9B512D2}"/>
          </ac:picMkLst>
        </pc:picChg>
        <pc:cxnChg chg="add mod">
          <ac:chgData name="Ki'Yona McClary" userId="S::kmcclary@microsoft.com::492bc8e0-e31d-42f8-9b7a-81eef03d1dc4" providerId="AD" clId="Web-{3104B19F-F014-0000-D567-E9D1FDB1BC7F}" dt="2021-03-04T17:26:08.942" v="210" actId="1076"/>
          <ac:cxnSpMkLst>
            <pc:docMk/>
            <pc:sldMk cId="3612004523" sldId="1997"/>
            <ac:cxnSpMk id="4" creationId="{E7A2FD36-8CF4-4359-8CD6-2D1B7A5A2214}"/>
          </ac:cxnSpMkLst>
        </pc:cxnChg>
        <pc:cxnChg chg="add del">
          <ac:chgData name="Ki'Yona McClary" userId="S::kmcclary@microsoft.com::492bc8e0-e31d-42f8-9b7a-81eef03d1dc4" providerId="AD" clId="Web-{3104B19F-F014-0000-D567-E9D1FDB1BC7F}" dt="2021-03-04T17:20:25.714" v="79"/>
          <ac:cxnSpMkLst>
            <pc:docMk/>
            <pc:sldMk cId="3612004523" sldId="1997"/>
            <ac:cxnSpMk id="6" creationId="{9F3C3910-B876-4BC6-A261-257B91265464}"/>
          </ac:cxnSpMkLst>
        </pc:cxnChg>
        <pc:cxnChg chg="add mod">
          <ac:chgData name="Ki'Yona McClary" userId="S::kmcclary@microsoft.com::492bc8e0-e31d-42f8-9b7a-81eef03d1dc4" providerId="AD" clId="Web-{3104B19F-F014-0000-D567-E9D1FDB1BC7F}" dt="2021-03-04T17:25:44.160" v="204" actId="1076"/>
          <ac:cxnSpMkLst>
            <pc:docMk/>
            <pc:sldMk cId="3612004523" sldId="1997"/>
            <ac:cxnSpMk id="10" creationId="{14595135-42A6-48F6-A74E-7D6EB9200912}"/>
          </ac:cxnSpMkLst>
        </pc:cxnChg>
        <pc:cxnChg chg="add mod">
          <ac:chgData name="Ki'Yona McClary" userId="S::kmcclary@microsoft.com::492bc8e0-e31d-42f8-9b7a-81eef03d1dc4" providerId="AD" clId="Web-{3104B19F-F014-0000-D567-E9D1FDB1BC7F}" dt="2021-03-04T17:25:44.176" v="206" actId="1076"/>
          <ac:cxnSpMkLst>
            <pc:docMk/>
            <pc:sldMk cId="3612004523" sldId="1997"/>
            <ac:cxnSpMk id="12" creationId="{7DBD2455-361A-4F33-91E9-6D42A231591B}"/>
          </ac:cxnSpMkLst>
        </pc:cxnChg>
      </pc:sldChg>
      <pc:sldChg chg="addSp delSp modSp">
        <pc:chgData name="Ki'Yona McClary" userId="S::kmcclary@microsoft.com::492bc8e0-e31d-42f8-9b7a-81eef03d1dc4" providerId="AD" clId="Web-{3104B19F-F014-0000-D567-E9D1FDB1BC7F}" dt="2021-03-04T17:43:25.986" v="242" actId="1076"/>
        <pc:sldMkLst>
          <pc:docMk/>
          <pc:sldMk cId="989663208" sldId="2002"/>
        </pc:sldMkLst>
        <pc:spChg chg="mod">
          <ac:chgData name="Ki'Yona McClary" userId="S::kmcclary@microsoft.com::492bc8e0-e31d-42f8-9b7a-81eef03d1dc4" providerId="AD" clId="Web-{3104B19F-F014-0000-D567-E9D1FDB1BC7F}" dt="2021-03-04T17:41:21.358" v="231" actId="1076"/>
          <ac:spMkLst>
            <pc:docMk/>
            <pc:sldMk cId="989663208" sldId="2002"/>
            <ac:spMk id="11" creationId="{03F59770-AD8B-469B-A88E-3E29D4DA280A}"/>
          </ac:spMkLst>
        </pc:spChg>
        <pc:spChg chg="mod">
          <ac:chgData name="Ki'Yona McClary" userId="S::kmcclary@microsoft.com::492bc8e0-e31d-42f8-9b7a-81eef03d1dc4" providerId="AD" clId="Web-{3104B19F-F014-0000-D567-E9D1FDB1BC7F}" dt="2021-03-04T17:42:37.907" v="239" actId="1076"/>
          <ac:spMkLst>
            <pc:docMk/>
            <pc:sldMk cId="989663208" sldId="2002"/>
            <ac:spMk id="12" creationId="{BFDCB6BC-4837-48FD-907E-BBD2084BA873}"/>
          </ac:spMkLst>
        </pc:spChg>
        <pc:spChg chg="mod">
          <ac:chgData name="Ki'Yona McClary" userId="S::kmcclary@microsoft.com::492bc8e0-e31d-42f8-9b7a-81eef03d1dc4" providerId="AD" clId="Web-{3104B19F-F014-0000-D567-E9D1FDB1BC7F}" dt="2021-03-04T17:42:25.110" v="236" actId="1076"/>
          <ac:spMkLst>
            <pc:docMk/>
            <pc:sldMk cId="989663208" sldId="2002"/>
            <ac:spMk id="13" creationId="{F96F65E3-2373-4140-BF6C-A1D2F809CB2B}"/>
          </ac:spMkLst>
        </pc:spChg>
        <pc:picChg chg="add mod modCrop">
          <ac:chgData name="Ki'Yona McClary" userId="S::kmcclary@microsoft.com::492bc8e0-e31d-42f8-9b7a-81eef03d1dc4" providerId="AD" clId="Web-{3104B19F-F014-0000-D567-E9D1FDB1BC7F}" dt="2021-03-04T17:40:50.873" v="230" actId="1076"/>
          <ac:picMkLst>
            <pc:docMk/>
            <pc:sldMk cId="989663208" sldId="2002"/>
            <ac:picMk id="3" creationId="{4E8EF135-185D-4998-87D8-0458480C08B6}"/>
          </ac:picMkLst>
        </pc:picChg>
        <pc:picChg chg="mod modCrop">
          <ac:chgData name="Ki'Yona McClary" userId="S::kmcclary@microsoft.com::492bc8e0-e31d-42f8-9b7a-81eef03d1dc4" providerId="AD" clId="Web-{3104B19F-F014-0000-D567-E9D1FDB1BC7F}" dt="2021-03-04T17:43:25.986" v="242" actId="1076"/>
          <ac:picMkLst>
            <pc:docMk/>
            <pc:sldMk cId="989663208" sldId="2002"/>
            <ac:picMk id="10" creationId="{C431870F-E289-4F36-85DC-73F777D6D08B}"/>
          </ac:picMkLst>
        </pc:picChg>
        <pc:picChg chg="del">
          <ac:chgData name="Ki'Yona McClary" userId="S::kmcclary@microsoft.com::492bc8e0-e31d-42f8-9b7a-81eef03d1dc4" providerId="AD" clId="Web-{3104B19F-F014-0000-D567-E9D1FDB1BC7F}" dt="2021-03-04T17:39:20.870" v="214"/>
          <ac:picMkLst>
            <pc:docMk/>
            <pc:sldMk cId="989663208" sldId="2002"/>
            <ac:picMk id="14" creationId="{9398E18F-7D35-467D-9310-E971B43FDCC3}"/>
          </ac:picMkLst>
        </pc:picChg>
      </pc:sldChg>
      <pc:sldChg chg="add del replId">
        <pc:chgData name="Ki'Yona McClary" userId="S::kmcclary@microsoft.com::492bc8e0-e31d-42f8-9b7a-81eef03d1dc4" providerId="AD" clId="Web-{3104B19F-F014-0000-D567-E9D1FDB1BC7F}" dt="2021-03-04T17:05:55.018" v="72"/>
        <pc:sldMkLst>
          <pc:docMk/>
          <pc:sldMk cId="3832228466" sldId="2014"/>
        </pc:sldMkLst>
      </pc:sldChg>
    </pc:docChg>
  </pc:docChgLst>
  <pc:docChgLst>
    <pc:chgData name="Justin Evans (CE SP)" userId="47353291-c02c-44a9-b576-fcb26b0c3050" providerId="ADAL" clId="{F72EDDEC-205A-4397-B8A2-98069ADF462C}"/>
    <pc:docChg chg="modSld">
      <pc:chgData name="Justin Evans (CE SP)" userId="47353291-c02c-44a9-b576-fcb26b0c3050" providerId="ADAL" clId="{F72EDDEC-205A-4397-B8A2-98069ADF462C}" dt="2021-07-19T12:12:40.243" v="79" actId="729"/>
      <pc:docMkLst>
        <pc:docMk/>
      </pc:docMkLst>
      <pc:sldChg chg="modSp">
        <pc:chgData name="Justin Evans (CE SP)" userId="47353291-c02c-44a9-b576-fcb26b0c3050" providerId="ADAL" clId="{F72EDDEC-205A-4397-B8A2-98069ADF462C}" dt="2021-07-19T12:11:59.044" v="78" actId="20577"/>
        <pc:sldMkLst>
          <pc:docMk/>
          <pc:sldMk cId="1147957374" sldId="282"/>
        </pc:sldMkLst>
        <pc:spChg chg="mod">
          <ac:chgData name="Justin Evans (CE SP)" userId="47353291-c02c-44a9-b576-fcb26b0c3050" providerId="ADAL" clId="{F72EDDEC-205A-4397-B8A2-98069ADF462C}" dt="2021-07-19T12:11:59.044" v="78" actId="20577"/>
          <ac:spMkLst>
            <pc:docMk/>
            <pc:sldMk cId="1147957374" sldId="282"/>
            <ac:spMk id="3" creationId="{065DB3F3-B1C0-4A47-B824-7B6D35D60263}"/>
          </ac:spMkLst>
        </pc:spChg>
      </pc:sldChg>
      <pc:sldChg chg="modNotesTx">
        <pc:chgData name="Justin Evans (CE SP)" userId="47353291-c02c-44a9-b576-fcb26b0c3050" providerId="ADAL" clId="{F72EDDEC-205A-4397-B8A2-98069ADF462C}" dt="2021-07-19T11:26:27.950" v="16" actId="20577"/>
        <pc:sldMkLst>
          <pc:docMk/>
          <pc:sldMk cId="2707495431" sldId="307"/>
        </pc:sldMkLst>
      </pc:sldChg>
      <pc:sldChg chg="mod modShow">
        <pc:chgData name="Justin Evans (CE SP)" userId="47353291-c02c-44a9-b576-fcb26b0c3050" providerId="ADAL" clId="{F72EDDEC-205A-4397-B8A2-98069ADF462C}" dt="2021-07-19T12:12:40.243" v="79" actId="729"/>
        <pc:sldMkLst>
          <pc:docMk/>
          <pc:sldMk cId="3571336088" sldId="1991"/>
        </pc:sldMkLst>
      </pc:sldChg>
      <pc:sldChg chg="mod modShow">
        <pc:chgData name="Justin Evans (CE SP)" userId="47353291-c02c-44a9-b576-fcb26b0c3050" providerId="ADAL" clId="{F72EDDEC-205A-4397-B8A2-98069ADF462C}" dt="2021-07-19T11:27:26.577" v="18" actId="729"/>
        <pc:sldMkLst>
          <pc:docMk/>
          <pc:sldMk cId="1675654522" sldId="1993"/>
        </pc:sldMkLst>
      </pc:sldChg>
      <pc:sldChg chg="mod modShow">
        <pc:chgData name="Justin Evans (CE SP)" userId="47353291-c02c-44a9-b576-fcb26b0c3050" providerId="ADAL" clId="{F72EDDEC-205A-4397-B8A2-98069ADF462C}" dt="2021-07-19T11:27:20.204" v="17" actId="729"/>
        <pc:sldMkLst>
          <pc:docMk/>
          <pc:sldMk cId="102007623" sldId="1995"/>
        </pc:sldMkLst>
      </pc:sldChg>
      <pc:sldChg chg="mod modShow">
        <pc:chgData name="Justin Evans (CE SP)" userId="47353291-c02c-44a9-b576-fcb26b0c3050" providerId="ADAL" clId="{F72EDDEC-205A-4397-B8A2-98069ADF462C}" dt="2021-07-19T11:25:17.760" v="0" actId="729"/>
        <pc:sldMkLst>
          <pc:docMk/>
          <pc:sldMk cId="3433158677" sldId="2005"/>
        </pc:sldMkLst>
      </pc:sldChg>
    </pc:docChg>
  </pc:docChgLst>
  <pc:docChgLst>
    <pc:chgData name="Alison Yeh" userId="S::alye@microsoft.com::86d98d7c-5861-42c0-9426-3e74a9b3ea79" providerId="AD" clId="Web-{2DA1ED2F-1923-72E6-6169-F36FDC63ED89}"/>
    <pc:docChg chg="modSld">
      <pc:chgData name="Alison Yeh" userId="S::alye@microsoft.com::86d98d7c-5861-42c0-9426-3e74a9b3ea79" providerId="AD" clId="Web-{2DA1ED2F-1923-72E6-6169-F36FDC63ED89}" dt="2020-11-03T02:08:21.512" v="1" actId="20577"/>
      <pc:docMkLst>
        <pc:docMk/>
      </pc:docMkLst>
      <pc:sldChg chg="modSp">
        <pc:chgData name="Alison Yeh" userId="S::alye@microsoft.com::86d98d7c-5861-42c0-9426-3e74a9b3ea79" providerId="AD" clId="Web-{2DA1ED2F-1923-72E6-6169-F36FDC63ED89}" dt="2020-11-03T02:08:21.512" v="1" actId="20577"/>
        <pc:sldMkLst>
          <pc:docMk/>
          <pc:sldMk cId="1325058836" sldId="256"/>
        </pc:sldMkLst>
        <pc:spChg chg="mod">
          <ac:chgData name="Alison Yeh" userId="S::alye@microsoft.com::86d98d7c-5861-42c0-9426-3e74a9b3ea79" providerId="AD" clId="Web-{2DA1ED2F-1923-72E6-6169-F36FDC63ED89}" dt="2020-11-03T02:08:21.512" v="1" actId="20577"/>
          <ac:spMkLst>
            <pc:docMk/>
            <pc:sldMk cId="1325058836" sldId="256"/>
            <ac:spMk id="6" creationId="{00000000-0000-0000-0000-000000000000}"/>
          </ac:spMkLst>
        </pc:spChg>
      </pc:sldChg>
    </pc:docChg>
  </pc:docChgLst>
  <pc:docChgLst>
    <pc:chgData name="Christopher" userId="2d47d5c7-389a-4b91-8fc5-dfad12ad20c7" providerId="ADAL" clId="{A852B73B-055D-47E9-9816-B5D44BBCE14E}"/>
    <pc:docChg chg="modSld">
      <pc:chgData name="Christopher" userId="2d47d5c7-389a-4b91-8fc5-dfad12ad20c7" providerId="ADAL" clId="{A852B73B-055D-47E9-9816-B5D44BBCE14E}" dt="2020-01-23T20:42:26.992" v="15"/>
      <pc:docMkLst>
        <pc:docMk/>
      </pc:docMkLst>
      <pc:sldChg chg="addSp">
        <pc:chgData name="Christopher" userId="2d47d5c7-389a-4b91-8fc5-dfad12ad20c7" providerId="ADAL" clId="{A852B73B-055D-47E9-9816-B5D44BBCE14E}" dt="2020-01-23T19:53:00.228" v="4"/>
        <pc:sldMkLst>
          <pc:docMk/>
          <pc:sldMk cId="4186606887" sldId="262"/>
        </pc:sldMkLst>
        <pc:picChg chg="add">
          <ac:chgData name="Christopher" userId="2d47d5c7-389a-4b91-8fc5-dfad12ad20c7" providerId="ADAL" clId="{A852B73B-055D-47E9-9816-B5D44BBCE14E}" dt="2020-01-23T19:53:00.228" v="4"/>
          <ac:picMkLst>
            <pc:docMk/>
            <pc:sldMk cId="4186606887" sldId="262"/>
            <ac:picMk id="3" creationId="{0BB22454-A574-43F2-AA4A-DA8E7F6E2C07}"/>
          </ac:picMkLst>
        </pc:picChg>
      </pc:sldChg>
      <pc:sldChg chg="modTransition">
        <pc:chgData name="Christopher" userId="2d47d5c7-389a-4b91-8fc5-dfad12ad20c7" providerId="ADAL" clId="{A852B73B-055D-47E9-9816-B5D44BBCE14E}" dt="2020-01-23T20:42:26.992" v="15"/>
        <pc:sldMkLst>
          <pc:docMk/>
          <pc:sldMk cId="1076368552" sldId="276"/>
        </pc:sldMkLst>
      </pc:sldChg>
      <pc:sldChg chg="addSp">
        <pc:chgData name="Christopher" userId="2d47d5c7-389a-4b91-8fc5-dfad12ad20c7" providerId="ADAL" clId="{A852B73B-055D-47E9-9816-B5D44BBCE14E}" dt="2020-01-23T20:38:42.851" v="14"/>
        <pc:sldMkLst>
          <pc:docMk/>
          <pc:sldMk cId="3525975785" sldId="382"/>
        </pc:sldMkLst>
        <pc:picChg chg="add">
          <ac:chgData name="Christopher" userId="2d47d5c7-389a-4b91-8fc5-dfad12ad20c7" providerId="ADAL" clId="{A852B73B-055D-47E9-9816-B5D44BBCE14E}" dt="2020-01-23T20:38:42.851" v="14"/>
          <ac:picMkLst>
            <pc:docMk/>
            <pc:sldMk cId="3525975785" sldId="382"/>
            <ac:picMk id="3" creationId="{04A38853-AB83-4409-BF7C-098759E6BF79}"/>
          </ac:picMkLst>
        </pc:picChg>
      </pc:sldChg>
      <pc:sldChg chg="addSp">
        <pc:chgData name="Christopher" userId="2d47d5c7-389a-4b91-8fc5-dfad12ad20c7" providerId="ADAL" clId="{A852B73B-055D-47E9-9816-B5D44BBCE14E}" dt="2020-01-23T19:58:23.631" v="5"/>
        <pc:sldMkLst>
          <pc:docMk/>
          <pc:sldMk cId="2750993272" sldId="399"/>
        </pc:sldMkLst>
        <pc:picChg chg="add">
          <ac:chgData name="Christopher" userId="2d47d5c7-389a-4b91-8fc5-dfad12ad20c7" providerId="ADAL" clId="{A852B73B-055D-47E9-9816-B5D44BBCE14E}" dt="2020-01-23T19:58:23.631" v="5"/>
          <ac:picMkLst>
            <pc:docMk/>
            <pc:sldMk cId="2750993272" sldId="399"/>
            <ac:picMk id="2" creationId="{9DD57E5B-107B-4128-8D1C-93B6087BAE21}"/>
          </ac:picMkLst>
        </pc:picChg>
      </pc:sldChg>
      <pc:sldChg chg="addSp modSp">
        <pc:chgData name="Christopher" userId="2d47d5c7-389a-4b91-8fc5-dfad12ad20c7" providerId="ADAL" clId="{A852B73B-055D-47E9-9816-B5D44BBCE14E}" dt="2020-01-23T20:31:38.825" v="13"/>
        <pc:sldMkLst>
          <pc:docMk/>
          <pc:sldMk cId="3716265243" sldId="1966"/>
        </pc:sldMkLst>
        <pc:spChg chg="mod">
          <ac:chgData name="Christopher" userId="2d47d5c7-389a-4b91-8fc5-dfad12ad20c7" providerId="ADAL" clId="{A852B73B-055D-47E9-9816-B5D44BBCE14E}" dt="2020-01-23T20:31:38.825" v="13"/>
          <ac:spMkLst>
            <pc:docMk/>
            <pc:sldMk cId="3716265243" sldId="1966"/>
            <ac:spMk id="5" creationId="{85009BE3-B1BD-4BF5-A2F8-829617D42196}"/>
          </ac:spMkLst>
        </pc:spChg>
        <pc:picChg chg="add">
          <ac:chgData name="Christopher" userId="2d47d5c7-389a-4b91-8fc5-dfad12ad20c7" providerId="ADAL" clId="{A852B73B-055D-47E9-9816-B5D44BBCE14E}" dt="2020-01-23T20:00:40.650" v="6"/>
          <ac:picMkLst>
            <pc:docMk/>
            <pc:sldMk cId="3716265243" sldId="1966"/>
            <ac:picMk id="3" creationId="{A540C662-7F41-41C5-8A50-990812FFCD9F}"/>
          </ac:picMkLst>
        </pc:picChg>
        <pc:picChg chg="add">
          <ac:chgData name="Christopher" userId="2d47d5c7-389a-4b91-8fc5-dfad12ad20c7" providerId="ADAL" clId="{A852B73B-055D-47E9-9816-B5D44BBCE14E}" dt="2020-01-23T20:01:09.864" v="7"/>
          <ac:picMkLst>
            <pc:docMk/>
            <pc:sldMk cId="3716265243" sldId="1966"/>
            <ac:picMk id="4" creationId="{8CAE28EB-8021-4F21-ABAF-B6605D66B2BC}"/>
          </ac:picMkLst>
        </pc:picChg>
        <pc:picChg chg="add">
          <ac:chgData name="Christopher" userId="2d47d5c7-389a-4b91-8fc5-dfad12ad20c7" providerId="ADAL" clId="{A852B73B-055D-47E9-9816-B5D44BBCE14E}" dt="2020-01-23T20:29:58.792" v="8"/>
          <ac:picMkLst>
            <pc:docMk/>
            <pc:sldMk cId="3716265243" sldId="1966"/>
            <ac:picMk id="6" creationId="{856D204A-C64F-457D-AB98-2343FB0C95DC}"/>
          </ac:picMkLst>
        </pc:picChg>
        <pc:picChg chg="add">
          <ac:chgData name="Christopher" userId="2d47d5c7-389a-4b91-8fc5-dfad12ad20c7" providerId="ADAL" clId="{A852B73B-055D-47E9-9816-B5D44BBCE14E}" dt="2020-01-23T20:30:32.001" v="9"/>
          <ac:picMkLst>
            <pc:docMk/>
            <pc:sldMk cId="3716265243" sldId="1966"/>
            <ac:picMk id="7" creationId="{0FB86561-A419-45D4-9439-EF8EF758DAB4}"/>
          </ac:picMkLst>
        </pc:picChg>
      </pc:sldChg>
      <pc:sldChg chg="addSp">
        <pc:chgData name="Christopher" userId="2d47d5c7-389a-4b91-8fc5-dfad12ad20c7" providerId="ADAL" clId="{A852B73B-055D-47E9-9816-B5D44BBCE14E}" dt="2020-01-23T18:54:21.290" v="3"/>
        <pc:sldMkLst>
          <pc:docMk/>
          <pc:sldMk cId="1097285130" sldId="1969"/>
        </pc:sldMkLst>
        <pc:picChg chg="add">
          <ac:chgData name="Christopher" userId="2d47d5c7-389a-4b91-8fc5-dfad12ad20c7" providerId="ADAL" clId="{A852B73B-055D-47E9-9816-B5D44BBCE14E}" dt="2020-01-23T18:54:21.290" v="3"/>
          <ac:picMkLst>
            <pc:docMk/>
            <pc:sldMk cId="1097285130" sldId="1969"/>
            <ac:picMk id="2" creationId="{70C2191B-7DC1-48C7-8CDF-715DA851F19A}"/>
          </ac:picMkLst>
        </pc:picChg>
      </pc:sldChg>
      <pc:sldChg chg="addSp">
        <pc:chgData name="Christopher" userId="2d47d5c7-389a-4b91-8fc5-dfad12ad20c7" providerId="ADAL" clId="{A852B73B-055D-47E9-9816-B5D44BBCE14E}" dt="2020-01-23T16:24:58.267" v="0"/>
        <pc:sldMkLst>
          <pc:docMk/>
          <pc:sldMk cId="2383933296" sldId="1988"/>
        </pc:sldMkLst>
        <pc:picChg chg="add">
          <ac:chgData name="Christopher" userId="2d47d5c7-389a-4b91-8fc5-dfad12ad20c7" providerId="ADAL" clId="{A852B73B-055D-47E9-9816-B5D44BBCE14E}" dt="2020-01-23T16:24:58.267" v="0"/>
          <ac:picMkLst>
            <pc:docMk/>
            <pc:sldMk cId="2383933296" sldId="1988"/>
            <ac:picMk id="3" creationId="{C02F3F01-D4F4-4D1B-96DF-421DB55E4903}"/>
          </ac:picMkLst>
        </pc:picChg>
      </pc:sldChg>
      <pc:sldChg chg="addSp">
        <pc:chgData name="Christopher" userId="2d47d5c7-389a-4b91-8fc5-dfad12ad20c7" providerId="ADAL" clId="{A852B73B-055D-47E9-9816-B5D44BBCE14E}" dt="2020-01-23T18:38:17.685" v="2"/>
        <pc:sldMkLst>
          <pc:docMk/>
          <pc:sldMk cId="2070064816" sldId="1989"/>
        </pc:sldMkLst>
        <pc:picChg chg="add">
          <ac:chgData name="Christopher" userId="2d47d5c7-389a-4b91-8fc5-dfad12ad20c7" providerId="ADAL" clId="{A852B73B-055D-47E9-9816-B5D44BBCE14E}" dt="2020-01-23T18:37:17.061" v="1"/>
          <ac:picMkLst>
            <pc:docMk/>
            <pc:sldMk cId="2070064816" sldId="1989"/>
            <ac:picMk id="4" creationId="{3568D361-1CFD-4C37-BD38-46E0FA4925D8}"/>
          </ac:picMkLst>
        </pc:picChg>
        <pc:picChg chg="add">
          <ac:chgData name="Christopher" userId="2d47d5c7-389a-4b91-8fc5-dfad12ad20c7" providerId="ADAL" clId="{A852B73B-055D-47E9-9816-B5D44BBCE14E}" dt="2020-01-23T18:38:17.685" v="2"/>
          <ac:picMkLst>
            <pc:docMk/>
            <pc:sldMk cId="2070064816" sldId="1989"/>
            <ac:picMk id="5" creationId="{0C9F847A-404C-4A99-969C-0F7F8CBC03F7}"/>
          </ac:picMkLst>
        </pc:picChg>
      </pc:sldChg>
    </pc:docChg>
  </pc:docChgLst>
  <pc:docChgLst>
    <pc:chgData name="Alison Yeh" userId="86d98d7c-5861-42c0-9426-3e74a9b3ea79" providerId="ADAL" clId="{2BB6D9E1-D878-413C-B21F-0C883349030D}"/>
    <pc:docChg chg="modSld">
      <pc:chgData name="Alison Yeh" userId="86d98d7c-5861-42c0-9426-3e74a9b3ea79" providerId="ADAL" clId="{2BB6D9E1-D878-413C-B21F-0C883349030D}" dt="2020-11-05T07:08:02.477" v="125" actId="20577"/>
      <pc:docMkLst>
        <pc:docMk/>
      </pc:docMkLst>
      <pc:sldChg chg="modSp mod">
        <pc:chgData name="Alison Yeh" userId="86d98d7c-5861-42c0-9426-3e74a9b3ea79" providerId="ADAL" clId="{2BB6D9E1-D878-413C-B21F-0C883349030D}" dt="2020-11-05T07:03:08.883" v="1" actId="20577"/>
        <pc:sldMkLst>
          <pc:docMk/>
          <pc:sldMk cId="2355728576" sldId="278"/>
        </pc:sldMkLst>
        <pc:spChg chg="mod">
          <ac:chgData name="Alison Yeh" userId="86d98d7c-5861-42c0-9426-3e74a9b3ea79" providerId="ADAL" clId="{2BB6D9E1-D878-413C-B21F-0C883349030D}" dt="2020-11-05T07:03:08.883" v="1" actId="20577"/>
          <ac:spMkLst>
            <pc:docMk/>
            <pc:sldMk cId="2355728576" sldId="278"/>
            <ac:spMk id="3" creationId="{4C7B2818-D4B6-49AF-BC6D-48A87C308A7A}"/>
          </ac:spMkLst>
        </pc:spChg>
      </pc:sldChg>
      <pc:sldChg chg="modSp mod">
        <pc:chgData name="Alison Yeh" userId="86d98d7c-5861-42c0-9426-3e74a9b3ea79" providerId="ADAL" clId="{2BB6D9E1-D878-413C-B21F-0C883349030D}" dt="2020-11-05T07:08:02.477" v="125" actId="20577"/>
        <pc:sldMkLst>
          <pc:docMk/>
          <pc:sldMk cId="3550844832" sldId="283"/>
        </pc:sldMkLst>
        <pc:spChg chg="mod">
          <ac:chgData name="Alison Yeh" userId="86d98d7c-5861-42c0-9426-3e74a9b3ea79" providerId="ADAL" clId="{2BB6D9E1-D878-413C-B21F-0C883349030D}" dt="2020-11-05T07:08:02.477" v="125" actId="20577"/>
          <ac:spMkLst>
            <pc:docMk/>
            <pc:sldMk cId="3550844832" sldId="283"/>
            <ac:spMk id="3" creationId="{33236595-CAC9-445D-9666-E8C18A3531A2}"/>
          </ac:spMkLst>
        </pc:spChg>
      </pc:sldChg>
      <pc:sldChg chg="modSp mod">
        <pc:chgData name="Alison Yeh" userId="86d98d7c-5861-42c0-9426-3e74a9b3ea79" providerId="ADAL" clId="{2BB6D9E1-D878-413C-B21F-0C883349030D}" dt="2020-11-05T07:03:03.870" v="0" actId="20577"/>
        <pc:sldMkLst>
          <pc:docMk/>
          <pc:sldMk cId="2707495431" sldId="307"/>
        </pc:sldMkLst>
        <pc:spChg chg="mod">
          <ac:chgData name="Alison Yeh" userId="86d98d7c-5861-42c0-9426-3e74a9b3ea79" providerId="ADAL" clId="{2BB6D9E1-D878-413C-B21F-0C883349030D}" dt="2020-11-05T07:03:03.870" v="0" actId="20577"/>
          <ac:spMkLst>
            <pc:docMk/>
            <pc:sldMk cId="2707495431" sldId="307"/>
            <ac:spMk id="17" creationId="{977E58EE-870A-41BD-84B1-6CB592992463}"/>
          </ac:spMkLst>
        </pc:spChg>
      </pc:sldChg>
      <pc:sldChg chg="modSp mod">
        <pc:chgData name="Alison Yeh" userId="86d98d7c-5861-42c0-9426-3e74a9b3ea79" providerId="ADAL" clId="{2BB6D9E1-D878-413C-B21F-0C883349030D}" dt="2020-11-05T07:03:35.925" v="7" actId="20577"/>
        <pc:sldMkLst>
          <pc:docMk/>
          <pc:sldMk cId="2310307256" sldId="355"/>
        </pc:sldMkLst>
        <pc:spChg chg="mod">
          <ac:chgData name="Alison Yeh" userId="86d98d7c-5861-42c0-9426-3e74a9b3ea79" providerId="ADAL" clId="{2BB6D9E1-D878-413C-B21F-0C883349030D}" dt="2020-11-05T07:03:31.778" v="6" actId="20577"/>
          <ac:spMkLst>
            <pc:docMk/>
            <pc:sldMk cId="2310307256" sldId="355"/>
            <ac:spMk id="17" creationId="{00000000-0000-0000-0000-000000000000}"/>
          </ac:spMkLst>
        </pc:spChg>
        <pc:spChg chg="mod">
          <ac:chgData name="Alison Yeh" userId="86d98d7c-5861-42c0-9426-3e74a9b3ea79" providerId="ADAL" clId="{2BB6D9E1-D878-413C-B21F-0C883349030D}" dt="2020-11-05T07:03:30.206" v="5" actId="20577"/>
          <ac:spMkLst>
            <pc:docMk/>
            <pc:sldMk cId="2310307256" sldId="355"/>
            <ac:spMk id="20" creationId="{00000000-0000-0000-0000-000000000000}"/>
          </ac:spMkLst>
        </pc:spChg>
        <pc:spChg chg="mod">
          <ac:chgData name="Alison Yeh" userId="86d98d7c-5861-42c0-9426-3e74a9b3ea79" providerId="ADAL" clId="{2BB6D9E1-D878-413C-B21F-0C883349030D}" dt="2020-11-05T07:03:28.625" v="4" actId="20577"/>
          <ac:spMkLst>
            <pc:docMk/>
            <pc:sldMk cId="2310307256" sldId="355"/>
            <ac:spMk id="23" creationId="{00000000-0000-0000-0000-000000000000}"/>
          </ac:spMkLst>
        </pc:spChg>
        <pc:spChg chg="mod">
          <ac:chgData name="Alison Yeh" userId="86d98d7c-5861-42c0-9426-3e74a9b3ea79" providerId="ADAL" clId="{2BB6D9E1-D878-413C-B21F-0C883349030D}" dt="2020-11-05T07:03:35.925" v="7" actId="20577"/>
          <ac:spMkLst>
            <pc:docMk/>
            <pc:sldMk cId="2310307256" sldId="355"/>
            <ac:spMk id="26" creationId="{00000000-0000-0000-0000-000000000000}"/>
          </ac:spMkLst>
        </pc:spChg>
      </pc:sldChg>
      <pc:sldChg chg="modSp mod">
        <pc:chgData name="Alison Yeh" userId="86d98d7c-5861-42c0-9426-3e74a9b3ea79" providerId="ADAL" clId="{2BB6D9E1-D878-413C-B21F-0C883349030D}" dt="2020-11-05T07:07:53.672" v="124" actId="20577"/>
        <pc:sldMkLst>
          <pc:docMk/>
          <pc:sldMk cId="1323131104" sldId="423"/>
        </pc:sldMkLst>
        <pc:spChg chg="mod">
          <ac:chgData name="Alison Yeh" userId="86d98d7c-5861-42c0-9426-3e74a9b3ea79" providerId="ADAL" clId="{2BB6D9E1-D878-413C-B21F-0C883349030D}" dt="2020-11-05T07:07:53.672" v="124" actId="20577"/>
          <ac:spMkLst>
            <pc:docMk/>
            <pc:sldMk cId="1323131104" sldId="423"/>
            <ac:spMk id="10" creationId="{57D0DEBB-4EAB-411C-BF3B-19B442A31C0D}"/>
          </ac:spMkLst>
        </pc:spChg>
      </pc:sldChg>
      <pc:sldChg chg="modSp mod">
        <pc:chgData name="Alison Yeh" userId="86d98d7c-5861-42c0-9426-3e74a9b3ea79" providerId="ADAL" clId="{2BB6D9E1-D878-413C-B21F-0C883349030D}" dt="2020-11-05T07:07:05.162" v="73" actId="20577"/>
        <pc:sldMkLst>
          <pc:docMk/>
          <pc:sldMk cId="2363988451" sldId="1975"/>
        </pc:sldMkLst>
        <pc:spChg chg="mod">
          <ac:chgData name="Alison Yeh" userId="86d98d7c-5861-42c0-9426-3e74a9b3ea79" providerId="ADAL" clId="{2BB6D9E1-D878-413C-B21F-0C883349030D}" dt="2020-11-05T07:07:02.574" v="71" actId="20577"/>
          <ac:spMkLst>
            <pc:docMk/>
            <pc:sldMk cId="2363988451" sldId="1975"/>
            <ac:spMk id="4" creationId="{CFC532B9-1692-43B5-938B-BB438AC5343F}"/>
          </ac:spMkLst>
        </pc:spChg>
        <pc:spChg chg="mod">
          <ac:chgData name="Alison Yeh" userId="86d98d7c-5861-42c0-9426-3e74a9b3ea79" providerId="ADAL" clId="{2BB6D9E1-D878-413C-B21F-0C883349030D}" dt="2020-11-05T07:07:05.162" v="73" actId="20577"/>
          <ac:spMkLst>
            <pc:docMk/>
            <pc:sldMk cId="2363988451" sldId="1975"/>
            <ac:spMk id="5" creationId="{E6DD22F5-FCD1-4626-9B8E-858520FA2A89}"/>
          </ac:spMkLst>
        </pc:spChg>
      </pc:sldChg>
      <pc:sldChg chg="modSp mod">
        <pc:chgData name="Alison Yeh" userId="86d98d7c-5861-42c0-9426-3e74a9b3ea79" providerId="ADAL" clId="{2BB6D9E1-D878-413C-B21F-0C883349030D}" dt="2020-11-05T07:06:40.221" v="62" actId="20577"/>
        <pc:sldMkLst>
          <pc:docMk/>
          <pc:sldMk cId="3571336088" sldId="1991"/>
        </pc:sldMkLst>
        <pc:spChg chg="mod">
          <ac:chgData name="Alison Yeh" userId="86d98d7c-5861-42c0-9426-3e74a9b3ea79" providerId="ADAL" clId="{2BB6D9E1-D878-413C-B21F-0C883349030D}" dt="2020-11-05T07:06:40.221" v="62" actId="20577"/>
          <ac:spMkLst>
            <pc:docMk/>
            <pc:sldMk cId="3571336088" sldId="1991"/>
            <ac:spMk id="7" creationId="{90ACB90D-992B-4408-B3ED-15C194BD74A4}"/>
          </ac:spMkLst>
        </pc:spChg>
      </pc:sldChg>
      <pc:sldChg chg="modSp mod">
        <pc:chgData name="Alison Yeh" userId="86d98d7c-5861-42c0-9426-3e74a9b3ea79" providerId="ADAL" clId="{2BB6D9E1-D878-413C-B21F-0C883349030D}" dt="2020-11-05T07:03:21.370" v="3" actId="20577"/>
        <pc:sldMkLst>
          <pc:docMk/>
          <pc:sldMk cId="829854860" sldId="1994"/>
        </pc:sldMkLst>
        <pc:spChg chg="mod">
          <ac:chgData name="Alison Yeh" userId="86d98d7c-5861-42c0-9426-3e74a9b3ea79" providerId="ADAL" clId="{2BB6D9E1-D878-413C-B21F-0C883349030D}" dt="2020-11-05T07:03:21.370" v="3" actId="20577"/>
          <ac:spMkLst>
            <pc:docMk/>
            <pc:sldMk cId="829854860" sldId="1994"/>
            <ac:spMk id="2" creationId="{4B90FCF2-EECD-430D-9A80-C888748FFCE6}"/>
          </ac:spMkLst>
        </pc:spChg>
      </pc:sldChg>
      <pc:sldChg chg="modSp mod">
        <pc:chgData name="Alison Yeh" userId="86d98d7c-5861-42c0-9426-3e74a9b3ea79" providerId="ADAL" clId="{2BB6D9E1-D878-413C-B21F-0C883349030D}" dt="2020-11-05T07:06:02.163" v="17" actId="20577"/>
        <pc:sldMkLst>
          <pc:docMk/>
          <pc:sldMk cId="2875695618" sldId="1996"/>
        </pc:sldMkLst>
        <pc:spChg chg="mod">
          <ac:chgData name="Alison Yeh" userId="86d98d7c-5861-42c0-9426-3e74a9b3ea79" providerId="ADAL" clId="{2BB6D9E1-D878-413C-B21F-0C883349030D}" dt="2020-11-05T07:06:02.163" v="17" actId="20577"/>
          <ac:spMkLst>
            <pc:docMk/>
            <pc:sldMk cId="2875695618" sldId="1996"/>
            <ac:spMk id="2" creationId="{82E1F057-4164-4917-9DC7-1568A4EDC3E7}"/>
          </ac:spMkLst>
        </pc:spChg>
      </pc:sldChg>
      <pc:sldChg chg="modSp mod">
        <pc:chgData name="Alison Yeh" userId="86d98d7c-5861-42c0-9426-3e74a9b3ea79" providerId="ADAL" clId="{2BB6D9E1-D878-413C-B21F-0C883349030D}" dt="2020-11-05T07:06:08.538" v="18" actId="20577"/>
        <pc:sldMkLst>
          <pc:docMk/>
          <pc:sldMk cId="3612004523" sldId="1997"/>
        </pc:sldMkLst>
        <pc:spChg chg="mod">
          <ac:chgData name="Alison Yeh" userId="86d98d7c-5861-42c0-9426-3e74a9b3ea79" providerId="ADAL" clId="{2BB6D9E1-D878-413C-B21F-0C883349030D}" dt="2020-11-05T07:06:08.538" v="18" actId="20577"/>
          <ac:spMkLst>
            <pc:docMk/>
            <pc:sldMk cId="3612004523" sldId="1997"/>
            <ac:spMk id="2" creationId="{82E1F057-4164-4917-9DC7-1568A4EDC3E7}"/>
          </ac:spMkLst>
        </pc:spChg>
      </pc:sldChg>
      <pc:sldChg chg="modSp mod modNotesTx">
        <pc:chgData name="Alison Yeh" userId="86d98d7c-5861-42c0-9426-3e74a9b3ea79" providerId="ADAL" clId="{2BB6D9E1-D878-413C-B21F-0C883349030D}" dt="2020-11-05T07:06:53.698" v="68" actId="20577"/>
        <pc:sldMkLst>
          <pc:docMk/>
          <pc:sldMk cId="1491234068" sldId="1999"/>
        </pc:sldMkLst>
        <pc:spChg chg="mod">
          <ac:chgData name="Alison Yeh" userId="86d98d7c-5861-42c0-9426-3e74a9b3ea79" providerId="ADAL" clId="{2BB6D9E1-D878-413C-B21F-0C883349030D}" dt="2020-11-05T07:06:46.007" v="63" actId="20577"/>
          <ac:spMkLst>
            <pc:docMk/>
            <pc:sldMk cId="1491234068" sldId="1999"/>
            <ac:spMk id="4" creationId="{125E8924-C304-4247-9EF9-F3D3E5B136BE}"/>
          </ac:spMkLst>
        </pc:spChg>
      </pc:sldChg>
      <pc:sldChg chg="modSp mod modNotesTx">
        <pc:chgData name="Alison Yeh" userId="86d98d7c-5861-42c0-9426-3e74a9b3ea79" providerId="ADAL" clId="{2BB6D9E1-D878-413C-B21F-0C883349030D}" dt="2020-11-05T07:07:00.209" v="70" actId="20577"/>
        <pc:sldMkLst>
          <pc:docMk/>
          <pc:sldMk cId="3816319392" sldId="2000"/>
        </pc:sldMkLst>
        <pc:spChg chg="mod">
          <ac:chgData name="Alison Yeh" userId="86d98d7c-5861-42c0-9426-3e74a9b3ea79" providerId="ADAL" clId="{2BB6D9E1-D878-413C-B21F-0C883349030D}" dt="2020-11-05T07:06:57.267" v="69" actId="20577"/>
          <ac:spMkLst>
            <pc:docMk/>
            <pc:sldMk cId="3816319392" sldId="2000"/>
            <ac:spMk id="9" creationId="{CFA559AD-4C6A-43CC-BEFA-3713581D3866}"/>
          </ac:spMkLst>
        </pc:spChg>
      </pc:sldChg>
      <pc:sldChg chg="modNotesTx">
        <pc:chgData name="Alison Yeh" userId="86d98d7c-5861-42c0-9426-3e74a9b3ea79" providerId="ADAL" clId="{2BB6D9E1-D878-413C-B21F-0C883349030D}" dt="2020-11-05T07:07:14.898" v="76" actId="20577"/>
        <pc:sldMkLst>
          <pc:docMk/>
          <pc:sldMk cId="989663208" sldId="2002"/>
        </pc:sldMkLst>
      </pc:sldChg>
      <pc:sldChg chg="modSp mod">
        <pc:chgData name="Alison Yeh" userId="86d98d7c-5861-42c0-9426-3e74a9b3ea79" providerId="ADAL" clId="{2BB6D9E1-D878-413C-B21F-0C883349030D}" dt="2020-11-05T07:03:17.061" v="2" actId="20577"/>
        <pc:sldMkLst>
          <pc:docMk/>
          <pc:sldMk cId="3433158677" sldId="2005"/>
        </pc:sldMkLst>
        <pc:spChg chg="mod">
          <ac:chgData name="Alison Yeh" userId="86d98d7c-5861-42c0-9426-3e74a9b3ea79" providerId="ADAL" clId="{2BB6D9E1-D878-413C-B21F-0C883349030D}" dt="2020-11-05T07:03:17.061" v="2" actId="20577"/>
          <ac:spMkLst>
            <pc:docMk/>
            <pc:sldMk cId="3433158677" sldId="2005"/>
            <ac:spMk id="5" creationId="{1F868EAD-30D3-4785-878C-0C4B13F2E5EA}"/>
          </ac:spMkLst>
        </pc:spChg>
      </pc:sldChg>
      <pc:sldChg chg="modSp mod">
        <pc:chgData name="Alison Yeh" userId="86d98d7c-5861-42c0-9426-3e74a9b3ea79" providerId="ADAL" clId="{2BB6D9E1-D878-413C-B21F-0C883349030D}" dt="2020-11-05T07:05:58.069" v="16" actId="20577"/>
        <pc:sldMkLst>
          <pc:docMk/>
          <pc:sldMk cId="4108220385" sldId="2012"/>
        </pc:sldMkLst>
        <pc:spChg chg="mod">
          <ac:chgData name="Alison Yeh" userId="86d98d7c-5861-42c0-9426-3e74a9b3ea79" providerId="ADAL" clId="{2BB6D9E1-D878-413C-B21F-0C883349030D}" dt="2020-11-05T07:05:45.661" v="11" actId="207"/>
          <ac:spMkLst>
            <pc:docMk/>
            <pc:sldMk cId="4108220385" sldId="2012"/>
            <ac:spMk id="3" creationId="{8ADA5948-1913-463F-8CC4-C9CB6AD671F0}"/>
          </ac:spMkLst>
        </pc:spChg>
        <pc:spChg chg="mod">
          <ac:chgData name="Alison Yeh" userId="86d98d7c-5861-42c0-9426-3e74a9b3ea79" providerId="ADAL" clId="{2BB6D9E1-D878-413C-B21F-0C883349030D}" dt="2020-11-05T07:05:58.069" v="16" actId="20577"/>
          <ac:spMkLst>
            <pc:docMk/>
            <pc:sldMk cId="4108220385" sldId="2012"/>
            <ac:spMk id="6" creationId="{D0951595-B4E9-4648-9AD7-C6783C266DA9}"/>
          </ac:spMkLst>
        </pc:spChg>
      </pc:sldChg>
    </pc:docChg>
  </pc:docChgLst>
  <pc:docChgLst>
    <pc:chgData name="Nick Miller (PFE)" userId="afe30545-da51-4cda-82da-aebfb9951a6d" providerId="ADAL" clId="{61F0A804-CDF9-45B2-887D-44C5ABE1A4EA}"/>
    <pc:docChg chg="undo custSel modSld">
      <pc:chgData name="Nick Miller (PFE)" userId="afe30545-da51-4cda-82da-aebfb9951a6d" providerId="ADAL" clId="{61F0A804-CDF9-45B2-887D-44C5ABE1A4EA}" dt="2020-03-27T17:52:56.410" v="180"/>
      <pc:docMkLst>
        <pc:docMk/>
      </pc:docMkLst>
      <pc:sldChg chg="modSp mod addCm">
        <pc:chgData name="Nick Miller (PFE)" userId="afe30545-da51-4cda-82da-aebfb9951a6d" providerId="ADAL" clId="{61F0A804-CDF9-45B2-887D-44C5ABE1A4EA}" dt="2020-03-27T17:43:05.283" v="35" actId="255"/>
        <pc:sldMkLst>
          <pc:docMk/>
          <pc:sldMk cId="1325058836" sldId="256"/>
        </pc:sldMkLst>
        <pc:spChg chg="mod">
          <ac:chgData name="Nick Miller (PFE)" userId="afe30545-da51-4cda-82da-aebfb9951a6d" providerId="ADAL" clId="{61F0A804-CDF9-45B2-887D-44C5ABE1A4EA}" dt="2020-03-27T17:43:05.283" v="35" actId="255"/>
          <ac:spMkLst>
            <pc:docMk/>
            <pc:sldMk cId="1325058836" sldId="256"/>
            <ac:spMk id="6" creationId="{00000000-0000-0000-0000-000000000000}"/>
          </ac:spMkLst>
        </pc:spChg>
      </pc:sldChg>
      <pc:sldChg chg="modSp modAnim addCm">
        <pc:chgData name="Nick Miller (PFE)" userId="afe30545-da51-4cda-82da-aebfb9951a6d" providerId="ADAL" clId="{61F0A804-CDF9-45B2-887D-44C5ABE1A4EA}" dt="2020-03-27T17:52:56.410" v="180"/>
        <pc:sldMkLst>
          <pc:docMk/>
          <pc:sldMk cId="1147957374" sldId="282"/>
        </pc:sldMkLst>
        <pc:spChg chg="mod">
          <ac:chgData name="Nick Miller (PFE)" userId="afe30545-da51-4cda-82da-aebfb9951a6d" providerId="ADAL" clId="{61F0A804-CDF9-45B2-887D-44C5ABE1A4EA}" dt="2020-03-27T17:52:02.290" v="176" actId="20577"/>
          <ac:spMkLst>
            <pc:docMk/>
            <pc:sldMk cId="1147957374" sldId="282"/>
            <ac:spMk id="3" creationId="{065DB3F3-B1C0-4A47-B824-7B6D35D60263}"/>
          </ac:spMkLst>
        </pc:spChg>
      </pc:sldChg>
      <pc:sldChg chg="addSp modSp mod addCm">
        <pc:chgData name="Nick Miller (PFE)" userId="afe30545-da51-4cda-82da-aebfb9951a6d" providerId="ADAL" clId="{61F0A804-CDF9-45B2-887D-44C5ABE1A4EA}" dt="2020-03-27T17:46:22.763" v="94"/>
        <pc:sldMkLst>
          <pc:docMk/>
          <pc:sldMk cId="1831265177" sldId="1990"/>
        </pc:sldMkLst>
        <pc:spChg chg="mod">
          <ac:chgData name="Nick Miller (PFE)" userId="afe30545-da51-4cda-82da-aebfb9951a6d" providerId="ADAL" clId="{61F0A804-CDF9-45B2-887D-44C5ABE1A4EA}" dt="2020-03-27T17:45:02.963" v="86" actId="6549"/>
          <ac:spMkLst>
            <pc:docMk/>
            <pc:sldMk cId="1831265177" sldId="1990"/>
            <ac:spMk id="3" creationId="{00000000-0000-0000-0000-000000000000}"/>
          </ac:spMkLst>
        </pc:spChg>
        <pc:spChg chg="add mod">
          <ac:chgData name="Nick Miller (PFE)" userId="afe30545-da51-4cda-82da-aebfb9951a6d" providerId="ADAL" clId="{61F0A804-CDF9-45B2-887D-44C5ABE1A4EA}" dt="2020-03-27T17:46:03.991" v="93" actId="1076"/>
          <ac:spMkLst>
            <pc:docMk/>
            <pc:sldMk cId="1831265177" sldId="1990"/>
            <ac:spMk id="4" creationId="{15A410C4-ECF6-4CE4-AFB5-6802D3F57A50}"/>
          </ac:spMkLst>
        </pc:spChg>
      </pc:sldChg>
    </pc:docChg>
  </pc:docChgLst>
  <pc:docChgLst>
    <pc:chgData name="Christopher Weaver" userId="2d47d5c7-389a-4b91-8fc5-dfad12ad20c7" providerId="ADAL" clId="{4941CB49-7DF0-426A-BED7-CB6AEB8F7B91}"/>
    <pc:docChg chg="undo custSel addSld delSld modSld">
      <pc:chgData name="Christopher Weaver" userId="2d47d5c7-389a-4b91-8fc5-dfad12ad20c7" providerId="ADAL" clId="{4941CB49-7DF0-426A-BED7-CB6AEB8F7B91}" dt="2020-07-31T14:31:43.760" v="869" actId="20577"/>
      <pc:docMkLst>
        <pc:docMk/>
      </pc:docMkLst>
      <pc:sldChg chg="delSp modSp">
        <pc:chgData name="Christopher Weaver" userId="2d47d5c7-389a-4b91-8fc5-dfad12ad20c7" providerId="ADAL" clId="{4941CB49-7DF0-426A-BED7-CB6AEB8F7B91}" dt="2020-07-31T13:49:31.685" v="0"/>
        <pc:sldMkLst>
          <pc:docMk/>
          <pc:sldMk cId="2355728576" sldId="278"/>
        </pc:sldMkLst>
        <pc:picChg chg="del mod">
          <ac:chgData name="Christopher Weaver" userId="2d47d5c7-389a-4b91-8fc5-dfad12ad20c7" providerId="ADAL" clId="{4941CB49-7DF0-426A-BED7-CB6AEB8F7B91}" dt="2020-07-31T13:49:31.685" v="0"/>
          <ac:picMkLst>
            <pc:docMk/>
            <pc:sldMk cId="2355728576" sldId="278"/>
            <ac:picMk id="2" creationId="{B7FED9A8-C274-4516-997E-E04B91668616}"/>
          </ac:picMkLst>
        </pc:picChg>
      </pc:sldChg>
      <pc:sldChg chg="addSp delSp modSp mod modNotesTx">
        <pc:chgData name="Christopher Weaver" userId="2d47d5c7-389a-4b91-8fc5-dfad12ad20c7" providerId="ADAL" clId="{4941CB49-7DF0-426A-BED7-CB6AEB8F7B91}" dt="2020-07-31T14:23:56.728" v="819" actId="20577"/>
        <pc:sldMkLst>
          <pc:docMk/>
          <pc:sldMk cId="1323131104" sldId="423"/>
        </pc:sldMkLst>
        <pc:spChg chg="del">
          <ac:chgData name="Christopher Weaver" userId="2d47d5c7-389a-4b91-8fc5-dfad12ad20c7" providerId="ADAL" clId="{4941CB49-7DF0-426A-BED7-CB6AEB8F7B91}" dt="2020-07-31T14:17:15.040" v="599" actId="478"/>
          <ac:spMkLst>
            <pc:docMk/>
            <pc:sldMk cId="1323131104" sldId="423"/>
            <ac:spMk id="2" creationId="{00000000-0000-0000-0000-000000000000}"/>
          </ac:spMkLst>
        </pc:spChg>
        <pc:spChg chg="del">
          <ac:chgData name="Christopher Weaver" userId="2d47d5c7-389a-4b91-8fc5-dfad12ad20c7" providerId="ADAL" clId="{4941CB49-7DF0-426A-BED7-CB6AEB8F7B91}" dt="2020-07-31T14:17:41.796" v="602" actId="478"/>
          <ac:spMkLst>
            <pc:docMk/>
            <pc:sldMk cId="1323131104" sldId="423"/>
            <ac:spMk id="4" creationId="{00000000-0000-0000-0000-000000000000}"/>
          </ac:spMkLst>
        </pc:spChg>
        <pc:spChg chg="add mod">
          <ac:chgData name="Christopher Weaver" userId="2d47d5c7-389a-4b91-8fc5-dfad12ad20c7" providerId="ADAL" clId="{4941CB49-7DF0-426A-BED7-CB6AEB8F7B91}" dt="2020-07-31T14:17:23.025" v="601" actId="1076"/>
          <ac:spMkLst>
            <pc:docMk/>
            <pc:sldMk cId="1323131104" sldId="423"/>
            <ac:spMk id="5" creationId="{10A43045-C566-45CB-B535-5351D160656F}"/>
          </ac:spMkLst>
        </pc:spChg>
        <pc:spChg chg="add del mod">
          <ac:chgData name="Christopher Weaver" userId="2d47d5c7-389a-4b91-8fc5-dfad12ad20c7" providerId="ADAL" clId="{4941CB49-7DF0-426A-BED7-CB6AEB8F7B91}" dt="2020-07-31T14:17:17.631" v="600" actId="478"/>
          <ac:spMkLst>
            <pc:docMk/>
            <pc:sldMk cId="1323131104" sldId="423"/>
            <ac:spMk id="6" creationId="{ECB34D50-A4D8-449F-8161-F16D3DFC773D}"/>
          </ac:spMkLst>
        </pc:spChg>
        <pc:spChg chg="add del mod">
          <ac:chgData name="Christopher Weaver" userId="2d47d5c7-389a-4b91-8fc5-dfad12ad20c7" providerId="ADAL" clId="{4941CB49-7DF0-426A-BED7-CB6AEB8F7B91}" dt="2020-07-31T14:17:45.572" v="603" actId="478"/>
          <ac:spMkLst>
            <pc:docMk/>
            <pc:sldMk cId="1323131104" sldId="423"/>
            <ac:spMk id="8" creationId="{62D8717C-D66B-4A7F-95C3-C00683226E65}"/>
          </ac:spMkLst>
        </pc:spChg>
        <pc:spChg chg="add mod">
          <ac:chgData name="Christopher Weaver" userId="2d47d5c7-389a-4b91-8fc5-dfad12ad20c7" providerId="ADAL" clId="{4941CB49-7DF0-426A-BED7-CB6AEB8F7B91}" dt="2020-07-31T14:23:56.728" v="819" actId="20577"/>
          <ac:spMkLst>
            <pc:docMk/>
            <pc:sldMk cId="1323131104" sldId="423"/>
            <ac:spMk id="10" creationId="{57D0DEBB-4EAB-411C-BF3B-19B442A31C0D}"/>
          </ac:spMkLst>
        </pc:spChg>
      </pc:sldChg>
      <pc:sldChg chg="addSp delSp modSp mod modNotesTx">
        <pc:chgData name="Christopher Weaver" userId="2d47d5c7-389a-4b91-8fc5-dfad12ad20c7" providerId="ADAL" clId="{4941CB49-7DF0-426A-BED7-CB6AEB8F7B91}" dt="2020-07-31T14:31:43.760" v="869" actId="20577"/>
        <pc:sldMkLst>
          <pc:docMk/>
          <pc:sldMk cId="3571336088" sldId="1991"/>
        </pc:sldMkLst>
        <pc:spChg chg="add del mod">
          <ac:chgData name="Christopher Weaver" userId="2d47d5c7-389a-4b91-8fc5-dfad12ad20c7" providerId="ADAL" clId="{4941CB49-7DF0-426A-BED7-CB6AEB8F7B91}" dt="2020-07-31T13:57:20.019" v="374" actId="478"/>
          <ac:spMkLst>
            <pc:docMk/>
            <pc:sldMk cId="3571336088" sldId="1991"/>
            <ac:spMk id="3" creationId="{67955291-9F69-4EA7-87CE-06B178306C52}"/>
          </ac:spMkLst>
        </pc:spChg>
        <pc:spChg chg="del mod">
          <ac:chgData name="Christopher Weaver" userId="2d47d5c7-389a-4b91-8fc5-dfad12ad20c7" providerId="ADAL" clId="{4941CB49-7DF0-426A-BED7-CB6AEB8F7B91}" dt="2020-07-31T13:56:20.178" v="340" actId="478"/>
          <ac:spMkLst>
            <pc:docMk/>
            <pc:sldMk cId="3571336088" sldId="1991"/>
            <ac:spMk id="4" creationId="{12D8DE96-0708-4A7F-9C9B-9D0A5B378080}"/>
          </ac:spMkLst>
        </pc:spChg>
        <pc:spChg chg="del mod">
          <ac:chgData name="Christopher Weaver" userId="2d47d5c7-389a-4b91-8fc5-dfad12ad20c7" providerId="ADAL" clId="{4941CB49-7DF0-426A-BED7-CB6AEB8F7B91}" dt="2020-07-31T14:07:39.733" v="422" actId="478"/>
          <ac:spMkLst>
            <pc:docMk/>
            <pc:sldMk cId="3571336088" sldId="1991"/>
            <ac:spMk id="5" creationId="{1F868EAD-30D3-4785-878C-0C4B13F2E5EA}"/>
          </ac:spMkLst>
        </pc:spChg>
        <pc:spChg chg="add mod">
          <ac:chgData name="Christopher Weaver" userId="2d47d5c7-389a-4b91-8fc5-dfad12ad20c7" providerId="ADAL" clId="{4941CB49-7DF0-426A-BED7-CB6AEB8F7B91}" dt="2020-07-31T13:57:32.283" v="394" actId="1076"/>
          <ac:spMkLst>
            <pc:docMk/>
            <pc:sldMk cId="3571336088" sldId="1991"/>
            <ac:spMk id="6" creationId="{6761B3AB-9A7C-417C-97E5-FF534041CACA}"/>
          </ac:spMkLst>
        </pc:spChg>
        <pc:spChg chg="add mod">
          <ac:chgData name="Christopher Weaver" userId="2d47d5c7-389a-4b91-8fc5-dfad12ad20c7" providerId="ADAL" clId="{4941CB49-7DF0-426A-BED7-CB6AEB8F7B91}" dt="2020-07-31T14:31:43.760" v="869" actId="20577"/>
          <ac:spMkLst>
            <pc:docMk/>
            <pc:sldMk cId="3571336088" sldId="1991"/>
            <ac:spMk id="7" creationId="{90ACB90D-992B-4408-B3ED-15C194BD74A4}"/>
          </ac:spMkLst>
        </pc:spChg>
        <pc:spChg chg="add del mod">
          <ac:chgData name="Christopher Weaver" userId="2d47d5c7-389a-4b91-8fc5-dfad12ad20c7" providerId="ADAL" clId="{4941CB49-7DF0-426A-BED7-CB6AEB8F7B91}" dt="2020-07-31T14:07:42.184" v="423" actId="478"/>
          <ac:spMkLst>
            <pc:docMk/>
            <pc:sldMk cId="3571336088" sldId="1991"/>
            <ac:spMk id="9" creationId="{777FE5DC-5453-4B9F-B27D-FAA568922688}"/>
          </ac:spMkLst>
        </pc:spChg>
      </pc:sldChg>
      <pc:sldChg chg="addSp delSp modSp add del mod">
        <pc:chgData name="Christopher Weaver" userId="2d47d5c7-389a-4b91-8fc5-dfad12ad20c7" providerId="ADAL" clId="{4941CB49-7DF0-426A-BED7-CB6AEB8F7B91}" dt="2020-07-31T13:51:24.507" v="117" actId="2696"/>
        <pc:sldMkLst>
          <pc:docMk/>
          <pc:sldMk cId="3469495986" sldId="2004"/>
        </pc:sldMkLst>
        <pc:spChg chg="add mod">
          <ac:chgData name="Christopher Weaver" userId="2d47d5c7-389a-4b91-8fc5-dfad12ad20c7" providerId="ADAL" clId="{4941CB49-7DF0-426A-BED7-CB6AEB8F7B91}" dt="2020-07-31T13:50:36.710" v="46" actId="20577"/>
          <ac:spMkLst>
            <pc:docMk/>
            <pc:sldMk cId="3469495986" sldId="2004"/>
            <ac:spMk id="3" creationId="{758F83D2-6A8E-4BBA-A0EC-371EA0AF37A1}"/>
          </ac:spMkLst>
        </pc:spChg>
        <pc:spChg chg="del mod">
          <ac:chgData name="Christopher Weaver" userId="2d47d5c7-389a-4b91-8fc5-dfad12ad20c7" providerId="ADAL" clId="{4941CB49-7DF0-426A-BED7-CB6AEB8F7B91}" dt="2020-07-31T13:50:27.479" v="24" actId="478"/>
          <ac:spMkLst>
            <pc:docMk/>
            <pc:sldMk cId="3469495986" sldId="2004"/>
            <ac:spMk id="4" creationId="{12D8DE96-0708-4A7F-9C9B-9D0A5B378080}"/>
          </ac:spMkLst>
        </pc:spChg>
        <pc:spChg chg="mod">
          <ac:chgData name="Christopher Weaver" userId="2d47d5c7-389a-4b91-8fc5-dfad12ad20c7" providerId="ADAL" clId="{4941CB49-7DF0-426A-BED7-CB6AEB8F7B91}" dt="2020-07-31T13:51:23.909" v="115" actId="12"/>
          <ac:spMkLst>
            <pc:docMk/>
            <pc:sldMk cId="3469495986" sldId="2004"/>
            <ac:spMk id="5" creationId="{1F868EAD-30D3-4785-878C-0C4B13F2E5EA}"/>
          </ac:spMkLst>
        </pc:spChg>
      </pc:sldChg>
      <pc:sldChg chg="modSp add mod modNotesTx">
        <pc:chgData name="Christopher Weaver" userId="2d47d5c7-389a-4b91-8fc5-dfad12ad20c7" providerId="ADAL" clId="{4941CB49-7DF0-426A-BED7-CB6AEB8F7B91}" dt="2020-07-31T14:30:02.507" v="825" actId="255"/>
        <pc:sldMkLst>
          <pc:docMk/>
          <pc:sldMk cId="3433158677" sldId="2005"/>
        </pc:sldMkLst>
        <pc:spChg chg="mod">
          <ac:chgData name="Christopher Weaver" userId="2d47d5c7-389a-4b91-8fc5-dfad12ad20c7" providerId="ADAL" clId="{4941CB49-7DF0-426A-BED7-CB6AEB8F7B91}" dt="2020-07-31T14:30:02.507" v="825" actId="255"/>
          <ac:spMkLst>
            <pc:docMk/>
            <pc:sldMk cId="3433158677" sldId="2005"/>
            <ac:spMk id="5" creationId="{1F868EAD-30D3-4785-878C-0C4B13F2E5EA}"/>
          </ac:spMkLst>
        </pc:spChg>
      </pc:sldChg>
    </pc:docChg>
  </pc:docChgLst>
  <pc:docChgLst>
    <pc:chgData name="Rishabh Mathur" userId="085a90ad-ff62-452d-9cc6-fb668aecc57d" providerId="ADAL" clId="{00E91BF7-396B-4277-88D2-71D837C5DF31}"/>
    <pc:docChg chg="modSld">
      <pc:chgData name="Rishabh Mathur" userId="085a90ad-ff62-452d-9cc6-fb668aecc57d" providerId="ADAL" clId="{00E91BF7-396B-4277-88D2-71D837C5DF31}" dt="2020-05-01T17:56:09.864" v="31"/>
      <pc:docMkLst>
        <pc:docMk/>
      </pc:docMkLst>
      <pc:sldChg chg="modSp mod delCm">
        <pc:chgData name="Rishabh Mathur" userId="085a90ad-ff62-452d-9cc6-fb668aecc57d" providerId="ADAL" clId="{00E91BF7-396B-4277-88D2-71D837C5DF31}" dt="2020-05-01T17:56:09.864" v="31"/>
        <pc:sldMkLst>
          <pc:docMk/>
          <pc:sldMk cId="1325058836" sldId="256"/>
        </pc:sldMkLst>
        <pc:spChg chg="mod">
          <ac:chgData name="Rishabh Mathur" userId="085a90ad-ff62-452d-9cc6-fb668aecc57d" providerId="ADAL" clId="{00E91BF7-396B-4277-88D2-71D837C5DF31}" dt="2020-05-01T17:51:04.325" v="0" actId="6549"/>
          <ac:spMkLst>
            <pc:docMk/>
            <pc:sldMk cId="1325058836" sldId="256"/>
            <ac:spMk id="6" creationId="{00000000-0000-0000-0000-000000000000}"/>
          </ac:spMkLst>
        </pc:spChg>
      </pc:sldChg>
      <pc:sldChg chg="modSp delCm modNotesTx">
        <pc:chgData name="Rishabh Mathur" userId="085a90ad-ff62-452d-9cc6-fb668aecc57d" providerId="ADAL" clId="{00E91BF7-396B-4277-88D2-71D837C5DF31}" dt="2020-05-01T17:56:09.864" v="31"/>
        <pc:sldMkLst>
          <pc:docMk/>
          <pc:sldMk cId="1147957374" sldId="282"/>
        </pc:sldMkLst>
        <pc:spChg chg="mod">
          <ac:chgData name="Rishabh Mathur" userId="085a90ad-ff62-452d-9cc6-fb668aecc57d" providerId="ADAL" clId="{00E91BF7-396B-4277-88D2-71D837C5DF31}" dt="2020-05-01T17:54:37.180" v="29" actId="108"/>
          <ac:spMkLst>
            <pc:docMk/>
            <pc:sldMk cId="1147957374" sldId="282"/>
            <ac:spMk id="3" creationId="{065DB3F3-B1C0-4A47-B824-7B6D35D60263}"/>
          </ac:spMkLst>
        </pc:spChg>
      </pc:sldChg>
      <pc:sldChg chg="delCm">
        <pc:chgData name="Rishabh Mathur" userId="085a90ad-ff62-452d-9cc6-fb668aecc57d" providerId="ADAL" clId="{00E91BF7-396B-4277-88D2-71D837C5DF31}" dt="2020-05-01T17:56:09.864" v="31"/>
        <pc:sldMkLst>
          <pc:docMk/>
          <pc:sldMk cId="1831265177" sldId="1990"/>
        </pc:sldMkLst>
      </pc:sldChg>
    </pc:docChg>
  </pc:docChgLst>
  <pc:docChgLst>
    <pc:chgData name="Christopher Weaver" userId="2d47d5c7-389a-4b91-8fc5-dfad12ad20c7" providerId="ADAL" clId="{24CE45E0-C96F-4351-A3AD-D737C8D0F724}"/>
    <pc:docChg chg="custSel modSld">
      <pc:chgData name="Christopher Weaver" userId="2d47d5c7-389a-4b91-8fc5-dfad12ad20c7" providerId="ADAL" clId="{24CE45E0-C96F-4351-A3AD-D737C8D0F724}" dt="2021-02-12T19:31:47.652" v="160" actId="20577"/>
      <pc:docMkLst>
        <pc:docMk/>
      </pc:docMkLst>
      <pc:sldChg chg="modSp mod">
        <pc:chgData name="Christopher Weaver" userId="2d47d5c7-389a-4b91-8fc5-dfad12ad20c7" providerId="ADAL" clId="{24CE45E0-C96F-4351-A3AD-D737C8D0F724}" dt="2021-02-12T19:31:47.652" v="160" actId="20577"/>
        <pc:sldMkLst>
          <pc:docMk/>
          <pc:sldMk cId="2355728576" sldId="278"/>
        </pc:sldMkLst>
        <pc:spChg chg="mod">
          <ac:chgData name="Christopher Weaver" userId="2d47d5c7-389a-4b91-8fc5-dfad12ad20c7" providerId="ADAL" clId="{24CE45E0-C96F-4351-A3AD-D737C8D0F724}" dt="2021-02-12T19:31:47.652" v="160" actId="20577"/>
          <ac:spMkLst>
            <pc:docMk/>
            <pc:sldMk cId="2355728576" sldId="278"/>
            <ac:spMk id="3" creationId="{4C7B2818-D4B6-49AF-BC6D-48A87C308A7A}"/>
          </ac:spMkLst>
        </pc:spChg>
      </pc:sldChg>
      <pc:sldChg chg="addSp modSp mod">
        <pc:chgData name="Christopher Weaver" userId="2d47d5c7-389a-4b91-8fc5-dfad12ad20c7" providerId="ADAL" clId="{24CE45E0-C96F-4351-A3AD-D737C8D0F724}" dt="2021-02-12T19:28:53.450" v="109" actId="20577"/>
        <pc:sldMkLst>
          <pc:docMk/>
          <pc:sldMk cId="2196428951" sldId="2008"/>
        </pc:sldMkLst>
        <pc:spChg chg="mod">
          <ac:chgData name="Christopher Weaver" userId="2d47d5c7-389a-4b91-8fc5-dfad12ad20c7" providerId="ADAL" clId="{24CE45E0-C96F-4351-A3AD-D737C8D0F724}" dt="2021-02-12T19:27:11.653" v="18" actId="20577"/>
          <ac:spMkLst>
            <pc:docMk/>
            <pc:sldMk cId="2196428951" sldId="2008"/>
            <ac:spMk id="2" creationId="{4B90FCF2-EECD-430D-9A80-C888748FFCE6}"/>
          </ac:spMkLst>
        </pc:spChg>
        <pc:spChg chg="add mod">
          <ac:chgData name="Christopher Weaver" userId="2d47d5c7-389a-4b91-8fc5-dfad12ad20c7" providerId="ADAL" clId="{24CE45E0-C96F-4351-A3AD-D737C8D0F724}" dt="2021-02-12T19:28:53.450" v="109" actId="20577"/>
          <ac:spMkLst>
            <pc:docMk/>
            <pc:sldMk cId="2196428951" sldId="2008"/>
            <ac:spMk id="3" creationId="{708A2066-8966-48D0-AA57-13D3E1651218}"/>
          </ac:spMkLst>
        </pc:spChg>
      </pc:sldChg>
      <pc:sldChg chg="modNotesTx">
        <pc:chgData name="Christopher Weaver" userId="2d47d5c7-389a-4b91-8fc5-dfad12ad20c7" providerId="ADAL" clId="{24CE45E0-C96F-4351-A3AD-D737C8D0F724}" dt="2021-02-12T19:27:27.098" v="38" actId="20577"/>
        <pc:sldMkLst>
          <pc:docMk/>
          <pc:sldMk cId="2167425751" sldId="2009"/>
        </pc:sldMkLst>
      </pc:sldChg>
      <pc:sldChg chg="modSp mod modNotesTx">
        <pc:chgData name="Christopher Weaver" userId="2d47d5c7-389a-4b91-8fc5-dfad12ad20c7" providerId="ADAL" clId="{24CE45E0-C96F-4351-A3AD-D737C8D0F724}" dt="2021-02-12T19:28:08.947" v="62" actId="20577"/>
        <pc:sldMkLst>
          <pc:docMk/>
          <pc:sldMk cId="608112121" sldId="2010"/>
        </pc:sldMkLst>
        <pc:graphicFrameChg chg="modGraphic">
          <ac:chgData name="Christopher Weaver" userId="2d47d5c7-389a-4b91-8fc5-dfad12ad20c7" providerId="ADAL" clId="{24CE45E0-C96F-4351-A3AD-D737C8D0F724}" dt="2021-02-12T19:28:00.681" v="53" actId="20577"/>
          <ac:graphicFrameMkLst>
            <pc:docMk/>
            <pc:sldMk cId="608112121" sldId="2010"/>
            <ac:graphicFrameMk id="3" creationId="{BC7AE67D-4F38-4552-98BA-28FAED1B466A}"/>
          </ac:graphicFrameMkLst>
        </pc:graphicFrameChg>
      </pc:sldChg>
      <pc:sldChg chg="modNotesTx">
        <pc:chgData name="Christopher Weaver" userId="2d47d5c7-389a-4b91-8fc5-dfad12ad20c7" providerId="ADAL" clId="{24CE45E0-C96F-4351-A3AD-D737C8D0F724}" dt="2021-02-12T19:29:33.916" v="141" actId="20577"/>
        <pc:sldMkLst>
          <pc:docMk/>
          <pc:sldMk cId="4108220385" sldId="2012"/>
        </pc:sldMkLst>
      </pc:sldChg>
      <pc:sldChg chg="modNotesTx">
        <pc:chgData name="Christopher Weaver" userId="2d47d5c7-389a-4b91-8fc5-dfad12ad20c7" providerId="ADAL" clId="{24CE45E0-C96F-4351-A3AD-D737C8D0F724}" dt="2021-02-12T19:29:13.444" v="121" actId="20577"/>
        <pc:sldMkLst>
          <pc:docMk/>
          <pc:sldMk cId="1120387613" sldId="2013"/>
        </pc:sldMkLst>
      </pc:sldChg>
    </pc:docChg>
  </pc:docChgLst>
  <pc:docChgLst>
    <pc:chgData name="Christopher Weaver" userId="2d47d5c7-389a-4b91-8fc5-dfad12ad20c7" providerId="ADAL" clId="{AC97A712-4332-4DFA-B7BC-7B7C740314A6}"/>
    <pc:docChg chg="custSel modMainMaster">
      <pc:chgData name="Christopher Weaver" userId="2d47d5c7-389a-4b91-8fc5-dfad12ad20c7" providerId="ADAL" clId="{AC97A712-4332-4DFA-B7BC-7B7C740314A6}" dt="2021-06-03T19:29:25.078" v="0" actId="27636"/>
      <pc:docMkLst>
        <pc:docMk/>
      </pc:docMkLst>
      <pc:sldMasterChg chg="modSldLayout">
        <pc:chgData name="Christopher Weaver" userId="2d47d5c7-389a-4b91-8fc5-dfad12ad20c7" providerId="ADAL" clId="{AC97A712-4332-4DFA-B7BC-7B7C740314A6}" dt="2021-06-03T19:29:25.078" v="0" actId="27636"/>
        <pc:sldMasterMkLst>
          <pc:docMk/>
          <pc:sldMasterMk cId="1935024835" sldId="2147484789"/>
        </pc:sldMasterMkLst>
        <pc:sldLayoutChg chg="modSp mod">
          <pc:chgData name="Christopher Weaver" userId="2d47d5c7-389a-4b91-8fc5-dfad12ad20c7" providerId="ADAL" clId="{AC97A712-4332-4DFA-B7BC-7B7C740314A6}" dt="2021-06-03T19:29:25.078" v="0" actId="27636"/>
          <pc:sldLayoutMkLst>
            <pc:docMk/>
            <pc:sldMasterMk cId="1935024835" sldId="2147484789"/>
            <pc:sldLayoutMk cId="3160495656" sldId="2147484957"/>
          </pc:sldLayoutMkLst>
          <pc:spChg chg="mod">
            <ac:chgData name="Christopher Weaver" userId="2d47d5c7-389a-4b91-8fc5-dfad12ad20c7" providerId="ADAL" clId="{AC97A712-4332-4DFA-B7BC-7B7C740314A6}" dt="2021-06-03T19:29:25.078" v="0" actId="27636"/>
            <ac:spMkLst>
              <pc:docMk/>
              <pc:sldMasterMk cId="1935024835" sldId="2147484789"/>
              <pc:sldLayoutMk cId="3160495656" sldId="2147484957"/>
              <ac:spMk id="2" creationId="{00000000-0000-0000-0000-000000000000}"/>
            </ac:spMkLst>
          </pc:spChg>
        </pc:sldLayoutChg>
      </pc:sldMasterChg>
    </pc:docChg>
  </pc:docChgLst>
  <pc:docChgLst>
    <pc:chgData name="Christopher Weaver" userId="2d47d5c7-389a-4b91-8fc5-dfad12ad20c7" providerId="ADAL" clId="{A852B73B-055D-47E9-9816-B5D44BBCE14E}"/>
    <pc:docChg chg="undo custSel mod addSld modSld">
      <pc:chgData name="Christopher Weaver" userId="2d47d5c7-389a-4b91-8fc5-dfad12ad20c7" providerId="ADAL" clId="{A852B73B-055D-47E9-9816-B5D44BBCE14E}" dt="2020-01-23T14:37:12.341" v="1701" actId="14100"/>
      <pc:docMkLst>
        <pc:docMk/>
      </pc:docMkLst>
      <pc:sldChg chg="modTransition">
        <pc:chgData name="Christopher Weaver" userId="2d47d5c7-389a-4b91-8fc5-dfad12ad20c7" providerId="ADAL" clId="{A852B73B-055D-47E9-9816-B5D44BBCE14E}" dt="2020-01-22T20:02:47.381" v="0"/>
        <pc:sldMkLst>
          <pc:docMk/>
          <pc:sldMk cId="1831265177" sldId="1990"/>
        </pc:sldMkLst>
      </pc:sldChg>
      <pc:sldChg chg="addSp delSp modSp add modNotesTx">
        <pc:chgData name="Christopher Weaver" userId="2d47d5c7-389a-4b91-8fc5-dfad12ad20c7" providerId="ADAL" clId="{A852B73B-055D-47E9-9816-B5D44BBCE14E}" dt="2020-01-23T14:37:12.341" v="1701" actId="14100"/>
        <pc:sldMkLst>
          <pc:docMk/>
          <pc:sldMk cId="4176708396" sldId="1992"/>
        </pc:sldMkLst>
        <pc:spChg chg="mod">
          <ac:chgData name="Christopher Weaver" userId="2d47d5c7-389a-4b91-8fc5-dfad12ad20c7" providerId="ADAL" clId="{A852B73B-055D-47E9-9816-B5D44BBCE14E}" dt="2020-01-22T20:03:00.274" v="20" actId="20577"/>
          <ac:spMkLst>
            <pc:docMk/>
            <pc:sldMk cId="4176708396" sldId="1992"/>
            <ac:spMk id="2" creationId="{FD4564B3-4214-411D-AB49-1DC6330F8B6E}"/>
          </ac:spMkLst>
        </pc:spChg>
        <pc:spChg chg="del mod">
          <ac:chgData name="Christopher Weaver" userId="2d47d5c7-389a-4b91-8fc5-dfad12ad20c7" providerId="ADAL" clId="{A852B73B-055D-47E9-9816-B5D44BBCE14E}" dt="2020-01-22T20:08:29.620" v="24" actId="478"/>
          <ac:spMkLst>
            <pc:docMk/>
            <pc:sldMk cId="4176708396" sldId="1992"/>
            <ac:spMk id="3" creationId="{C41A9F69-6C6F-4D74-81EA-6621DBF65F97}"/>
          </ac:spMkLst>
        </pc:spChg>
        <pc:graphicFrameChg chg="add mod modGraphic">
          <ac:chgData name="Christopher Weaver" userId="2d47d5c7-389a-4b91-8fc5-dfad12ad20c7" providerId="ADAL" clId="{A852B73B-055D-47E9-9816-B5D44BBCE14E}" dt="2020-01-23T14:37:12.341" v="1701" actId="14100"/>
          <ac:graphicFrameMkLst>
            <pc:docMk/>
            <pc:sldMk cId="4176708396" sldId="1992"/>
            <ac:graphicFrameMk id="4" creationId="{835F9FC1-23CB-4E48-8B76-6DB844DCF039}"/>
          </ac:graphicFrameMkLst>
        </pc:graphicFrameChg>
      </pc:sldChg>
      <pc:sldChg chg="addSp delSp modSp add mod setBg modClrScheme chgLayout modNotesTx">
        <pc:chgData name="Christopher Weaver" userId="2d47d5c7-389a-4b91-8fc5-dfad12ad20c7" providerId="ADAL" clId="{A852B73B-055D-47E9-9816-B5D44BBCE14E}" dt="2020-01-23T14:36:24.530" v="1698" actId="20577"/>
        <pc:sldMkLst>
          <pc:docMk/>
          <pc:sldMk cId="1675654522" sldId="1993"/>
        </pc:sldMkLst>
        <pc:spChg chg="mod">
          <ac:chgData name="Christopher Weaver" userId="2d47d5c7-389a-4b91-8fc5-dfad12ad20c7" providerId="ADAL" clId="{A852B73B-055D-47E9-9816-B5D44BBCE14E}" dt="2020-01-22T21:03:49.659" v="1613" actId="26606"/>
          <ac:spMkLst>
            <pc:docMk/>
            <pc:sldMk cId="1675654522" sldId="1993"/>
            <ac:spMk id="2" creationId="{C412911D-CE3F-4DB3-847D-31A13A2A1E57}"/>
          </ac:spMkLst>
        </pc:spChg>
        <pc:spChg chg="add del mod">
          <ac:chgData name="Christopher Weaver" userId="2d47d5c7-389a-4b91-8fc5-dfad12ad20c7" providerId="ADAL" clId="{A852B73B-055D-47E9-9816-B5D44BBCE14E}" dt="2020-01-22T21:03:49.659" v="1613" actId="26606"/>
          <ac:spMkLst>
            <pc:docMk/>
            <pc:sldMk cId="1675654522" sldId="1993"/>
            <ac:spMk id="3" creationId="{96B814D3-3D76-4068-AFCB-81AA06DF9FFC}"/>
          </ac:spMkLst>
        </pc:spChg>
        <pc:graphicFrameChg chg="add del">
          <ac:chgData name="Christopher Weaver" userId="2d47d5c7-389a-4b91-8fc5-dfad12ad20c7" providerId="ADAL" clId="{A852B73B-055D-47E9-9816-B5D44BBCE14E}" dt="2020-01-22T21:03:44.779" v="1610" actId="26606"/>
          <ac:graphicFrameMkLst>
            <pc:docMk/>
            <pc:sldMk cId="1675654522" sldId="1993"/>
            <ac:graphicFrameMk id="5" creationId="{F1C5261F-5610-429F-B98F-361492BA7A23}"/>
          </ac:graphicFrameMkLst>
        </pc:graphicFrameChg>
        <pc:graphicFrameChg chg="add del">
          <ac:chgData name="Christopher Weaver" userId="2d47d5c7-389a-4b91-8fc5-dfad12ad20c7" providerId="ADAL" clId="{A852B73B-055D-47E9-9816-B5D44BBCE14E}" dt="2020-01-22T21:03:49.593" v="1612" actId="26606"/>
          <ac:graphicFrameMkLst>
            <pc:docMk/>
            <pc:sldMk cId="1675654522" sldId="1993"/>
            <ac:graphicFrameMk id="7" creationId="{21560FCF-0CC5-4CC8-907D-2BFD37E1BA7F}"/>
          </ac:graphicFrameMkLst>
        </pc:graphicFrameChg>
        <pc:graphicFrameChg chg="add mod">
          <ac:chgData name="Christopher Weaver" userId="2d47d5c7-389a-4b91-8fc5-dfad12ad20c7" providerId="ADAL" clId="{A852B73B-055D-47E9-9816-B5D44BBCE14E}" dt="2020-01-23T14:36:24.530" v="1698" actId="20577"/>
          <ac:graphicFrameMkLst>
            <pc:docMk/>
            <pc:sldMk cId="1675654522" sldId="1993"/>
            <ac:graphicFrameMk id="9" creationId="{F1C5261F-5610-429F-B98F-361492BA7A23}"/>
          </ac:graphicFrameMkLst>
        </pc:graphicFrameChg>
      </pc:sldChg>
    </pc:docChg>
  </pc:docChgLst>
  <pc:docChgLst>
    <pc:chgData name="Rishabh Mathur" userId="S::rimathur@microsoft.com::085a90ad-ff62-452d-9cc6-fb668aecc57d" providerId="AD" clId="Web-{1F268046-F804-F214-77B4-B36B5BA64924}"/>
    <pc:docChg chg="addSld modSld">
      <pc:chgData name="Rishabh Mathur" userId="S::rimathur@microsoft.com::085a90ad-ff62-452d-9cc6-fb668aecc57d" providerId="AD" clId="Web-{1F268046-F804-F214-77B4-B36B5BA64924}" dt="2021-05-07T18:49:15.089" v="6" actId="20577"/>
      <pc:docMkLst>
        <pc:docMk/>
      </pc:docMkLst>
      <pc:sldChg chg="modSp add">
        <pc:chgData name="Rishabh Mathur" userId="S::rimathur@microsoft.com::085a90ad-ff62-452d-9cc6-fb668aecc57d" providerId="AD" clId="Web-{1F268046-F804-F214-77B4-B36B5BA64924}" dt="2021-05-07T18:49:15.089" v="6" actId="20577"/>
        <pc:sldMkLst>
          <pc:docMk/>
          <pc:sldMk cId="601930279" sldId="2024"/>
        </pc:sldMkLst>
        <pc:spChg chg="mod">
          <ac:chgData name="Rishabh Mathur" userId="S::rimathur@microsoft.com::085a90ad-ff62-452d-9cc6-fb668aecc57d" providerId="AD" clId="Web-{1F268046-F804-F214-77B4-B36B5BA64924}" dt="2021-05-07T18:49:15.089" v="6" actId="20577"/>
          <ac:spMkLst>
            <pc:docMk/>
            <pc:sldMk cId="601930279" sldId="2024"/>
            <ac:spMk id="3" creationId="{536E12BC-DC35-4379-A780-AF4A66A60088}"/>
          </ac:spMkLst>
        </pc:spChg>
      </pc:sldChg>
    </pc:docChg>
  </pc:docChgLst>
  <pc:docChgLst>
    <pc:chgData name="Justin Evans (CE SP)" userId="47353291-c02c-44a9-b576-fcb26b0c3050" providerId="ADAL" clId="{72B18ABD-92C9-45D6-B662-039E52B4FD45}"/>
    <pc:docChg chg="custSel addSld delSld modSld delMainMaster">
      <pc:chgData name="Justin Evans (CE SP)" userId="47353291-c02c-44a9-b576-fcb26b0c3050" providerId="ADAL" clId="{72B18ABD-92C9-45D6-B662-039E52B4FD45}" dt="2021-10-04T18:00:54.761" v="149" actId="2696"/>
      <pc:docMkLst>
        <pc:docMk/>
      </pc:docMkLst>
      <pc:sldChg chg="modSp mod">
        <pc:chgData name="Justin Evans (CE SP)" userId="47353291-c02c-44a9-b576-fcb26b0c3050" providerId="ADAL" clId="{72B18ABD-92C9-45D6-B662-039E52B4FD45}" dt="2021-09-30T12:38:28.426" v="49" actId="20577"/>
        <pc:sldMkLst>
          <pc:docMk/>
          <pc:sldMk cId="1325058836" sldId="256"/>
        </pc:sldMkLst>
        <pc:spChg chg="mod">
          <ac:chgData name="Justin Evans (CE SP)" userId="47353291-c02c-44a9-b576-fcb26b0c3050" providerId="ADAL" clId="{72B18ABD-92C9-45D6-B662-039E52B4FD45}" dt="2021-09-30T12:38:28.426" v="49" actId="20577"/>
          <ac:spMkLst>
            <pc:docMk/>
            <pc:sldMk cId="1325058836" sldId="256"/>
            <ac:spMk id="6" creationId="{00000000-0000-0000-0000-000000000000}"/>
          </ac:spMkLst>
        </pc:spChg>
      </pc:sldChg>
      <pc:sldChg chg="del">
        <pc:chgData name="Justin Evans (CE SP)" userId="47353291-c02c-44a9-b576-fcb26b0c3050" providerId="ADAL" clId="{72B18ABD-92C9-45D6-B662-039E52B4FD45}" dt="2021-09-30T12:34:56.901" v="1" actId="2696"/>
        <pc:sldMkLst>
          <pc:docMk/>
          <pc:sldMk cId="3392994719" sldId="277"/>
        </pc:sldMkLst>
      </pc:sldChg>
      <pc:sldChg chg="del">
        <pc:chgData name="Justin Evans (CE SP)" userId="47353291-c02c-44a9-b576-fcb26b0c3050" providerId="ADAL" clId="{72B18ABD-92C9-45D6-B662-039E52B4FD45}" dt="2021-09-30T12:35:01.268" v="2" actId="2696"/>
        <pc:sldMkLst>
          <pc:docMk/>
          <pc:sldMk cId="2355728576" sldId="278"/>
        </pc:sldMkLst>
      </pc:sldChg>
      <pc:sldChg chg="del">
        <pc:chgData name="Justin Evans (CE SP)" userId="47353291-c02c-44a9-b576-fcb26b0c3050" providerId="ADAL" clId="{72B18ABD-92C9-45D6-B662-039E52B4FD45}" dt="2021-09-30T12:37:20.114" v="18" actId="2696"/>
        <pc:sldMkLst>
          <pc:docMk/>
          <pc:sldMk cId="1147957374" sldId="282"/>
        </pc:sldMkLst>
      </pc:sldChg>
      <pc:sldChg chg="del">
        <pc:chgData name="Justin Evans (CE SP)" userId="47353291-c02c-44a9-b576-fcb26b0c3050" providerId="ADAL" clId="{72B18ABD-92C9-45D6-B662-039E52B4FD45}" dt="2021-09-30T12:37:26.299" v="19" actId="2696"/>
        <pc:sldMkLst>
          <pc:docMk/>
          <pc:sldMk cId="3550844832" sldId="283"/>
        </pc:sldMkLst>
      </pc:sldChg>
      <pc:sldChg chg="modSp mod modShow modNotesTx">
        <pc:chgData name="Justin Evans (CE SP)" userId="47353291-c02c-44a9-b576-fcb26b0c3050" providerId="ADAL" clId="{72B18ABD-92C9-45D6-B662-039E52B4FD45}" dt="2021-09-30T15:04:41.808" v="148" actId="20577"/>
        <pc:sldMkLst>
          <pc:docMk/>
          <pc:sldMk cId="1323131104" sldId="423"/>
        </pc:sldMkLst>
        <pc:spChg chg="mod">
          <ac:chgData name="Justin Evans (CE SP)" userId="47353291-c02c-44a9-b576-fcb26b0c3050" providerId="ADAL" clId="{72B18ABD-92C9-45D6-B662-039E52B4FD45}" dt="2021-09-30T15:04:41.808" v="148" actId="20577"/>
          <ac:spMkLst>
            <pc:docMk/>
            <pc:sldMk cId="1323131104" sldId="423"/>
            <ac:spMk id="10" creationId="{57D0DEBB-4EAB-411C-BF3B-19B442A31C0D}"/>
          </ac:spMkLst>
        </pc:spChg>
      </pc:sldChg>
      <pc:sldChg chg="del">
        <pc:chgData name="Justin Evans (CE SP)" userId="47353291-c02c-44a9-b576-fcb26b0c3050" providerId="ADAL" clId="{72B18ABD-92C9-45D6-B662-039E52B4FD45}" dt="2021-09-30T12:35:50.962" v="10" actId="2696"/>
        <pc:sldMkLst>
          <pc:docMk/>
          <pc:sldMk cId="1735364846" sldId="1981"/>
        </pc:sldMkLst>
      </pc:sldChg>
      <pc:sldChg chg="del">
        <pc:chgData name="Justin Evans (CE SP)" userId="47353291-c02c-44a9-b576-fcb26b0c3050" providerId="ADAL" clId="{72B18ABD-92C9-45D6-B662-039E52B4FD45}" dt="2021-09-30T12:36:42.374" v="17" actId="2696"/>
        <pc:sldMkLst>
          <pc:docMk/>
          <pc:sldMk cId="3571336088" sldId="1991"/>
        </pc:sldMkLst>
      </pc:sldChg>
      <pc:sldChg chg="del">
        <pc:chgData name="Justin Evans (CE SP)" userId="47353291-c02c-44a9-b576-fcb26b0c3050" providerId="ADAL" clId="{72B18ABD-92C9-45D6-B662-039E52B4FD45}" dt="2021-09-30T12:35:23.113" v="5" actId="2696"/>
        <pc:sldMkLst>
          <pc:docMk/>
          <pc:sldMk cId="1675654522" sldId="1993"/>
        </pc:sldMkLst>
      </pc:sldChg>
      <pc:sldChg chg="del">
        <pc:chgData name="Justin Evans (CE SP)" userId="47353291-c02c-44a9-b576-fcb26b0c3050" providerId="ADAL" clId="{72B18ABD-92C9-45D6-B662-039E52B4FD45}" dt="2021-09-30T12:35:20.055" v="4" actId="2696"/>
        <pc:sldMkLst>
          <pc:docMk/>
          <pc:sldMk cId="102007623" sldId="1995"/>
        </pc:sldMkLst>
      </pc:sldChg>
      <pc:sldChg chg="del">
        <pc:chgData name="Justin Evans (CE SP)" userId="47353291-c02c-44a9-b576-fcb26b0c3050" providerId="ADAL" clId="{72B18ABD-92C9-45D6-B662-039E52B4FD45}" dt="2021-09-30T12:35:54.490" v="11" actId="2696"/>
        <pc:sldMkLst>
          <pc:docMk/>
          <pc:sldMk cId="2875695618" sldId="1996"/>
        </pc:sldMkLst>
      </pc:sldChg>
      <pc:sldChg chg="del">
        <pc:chgData name="Justin Evans (CE SP)" userId="47353291-c02c-44a9-b576-fcb26b0c3050" providerId="ADAL" clId="{72B18ABD-92C9-45D6-B662-039E52B4FD45}" dt="2021-09-30T12:36:00.139" v="12" actId="2696"/>
        <pc:sldMkLst>
          <pc:docMk/>
          <pc:sldMk cId="3612004523" sldId="1997"/>
        </pc:sldMkLst>
      </pc:sldChg>
      <pc:sldChg chg="del">
        <pc:chgData name="Justin Evans (CE SP)" userId="47353291-c02c-44a9-b576-fcb26b0c3050" providerId="ADAL" clId="{72B18ABD-92C9-45D6-B662-039E52B4FD45}" dt="2021-09-30T12:36:27.865" v="14" actId="2696"/>
        <pc:sldMkLst>
          <pc:docMk/>
          <pc:sldMk cId="4009327331" sldId="1998"/>
        </pc:sldMkLst>
      </pc:sldChg>
      <pc:sldChg chg="del">
        <pc:chgData name="Justin Evans (CE SP)" userId="47353291-c02c-44a9-b576-fcb26b0c3050" providerId="ADAL" clId="{72B18ABD-92C9-45D6-B662-039E52B4FD45}" dt="2021-09-30T12:35:03.371" v="3" actId="2696"/>
        <pc:sldMkLst>
          <pc:docMk/>
          <pc:sldMk cId="3433158677" sldId="2005"/>
        </pc:sldMkLst>
      </pc:sldChg>
      <pc:sldChg chg="del">
        <pc:chgData name="Justin Evans (CE SP)" userId="47353291-c02c-44a9-b576-fcb26b0c3050" providerId="ADAL" clId="{72B18ABD-92C9-45D6-B662-039E52B4FD45}" dt="2021-09-30T12:34:54.268" v="0" actId="2696"/>
        <pc:sldMkLst>
          <pc:docMk/>
          <pc:sldMk cId="1726115058" sldId="2006"/>
        </pc:sldMkLst>
      </pc:sldChg>
      <pc:sldChg chg="del">
        <pc:chgData name="Justin Evans (CE SP)" userId="47353291-c02c-44a9-b576-fcb26b0c3050" providerId="ADAL" clId="{72B18ABD-92C9-45D6-B662-039E52B4FD45}" dt="2021-09-30T12:36:10.371" v="13" actId="2696"/>
        <pc:sldMkLst>
          <pc:docMk/>
          <pc:sldMk cId="2994554156" sldId="2015"/>
        </pc:sldMkLst>
      </pc:sldChg>
      <pc:sldChg chg="del">
        <pc:chgData name="Justin Evans (CE SP)" userId="47353291-c02c-44a9-b576-fcb26b0c3050" providerId="ADAL" clId="{72B18ABD-92C9-45D6-B662-039E52B4FD45}" dt="2021-09-30T12:35:43.876" v="9" actId="2696"/>
        <pc:sldMkLst>
          <pc:docMk/>
          <pc:sldMk cId="279157146" sldId="2016"/>
        </pc:sldMkLst>
      </pc:sldChg>
      <pc:sldChg chg="del">
        <pc:chgData name="Justin Evans (CE SP)" userId="47353291-c02c-44a9-b576-fcb26b0c3050" providerId="ADAL" clId="{72B18ABD-92C9-45D6-B662-039E52B4FD45}" dt="2021-09-30T12:35:35.984" v="6" actId="2696"/>
        <pc:sldMkLst>
          <pc:docMk/>
          <pc:sldMk cId="2046959756" sldId="2017"/>
        </pc:sldMkLst>
      </pc:sldChg>
      <pc:sldChg chg="del">
        <pc:chgData name="Justin Evans (CE SP)" userId="47353291-c02c-44a9-b576-fcb26b0c3050" providerId="ADAL" clId="{72B18ABD-92C9-45D6-B662-039E52B4FD45}" dt="2021-09-30T12:35:38.422" v="7" actId="2696"/>
        <pc:sldMkLst>
          <pc:docMk/>
          <pc:sldMk cId="2104978979" sldId="2018"/>
        </pc:sldMkLst>
      </pc:sldChg>
      <pc:sldChg chg="del">
        <pc:chgData name="Justin Evans (CE SP)" userId="47353291-c02c-44a9-b576-fcb26b0c3050" providerId="ADAL" clId="{72B18ABD-92C9-45D6-B662-039E52B4FD45}" dt="2021-09-30T12:35:41.042" v="8" actId="2696"/>
        <pc:sldMkLst>
          <pc:docMk/>
          <pc:sldMk cId="2179952507" sldId="2020"/>
        </pc:sldMkLst>
      </pc:sldChg>
      <pc:sldChg chg="del">
        <pc:chgData name="Justin Evans (CE SP)" userId="47353291-c02c-44a9-b576-fcb26b0c3050" providerId="ADAL" clId="{72B18ABD-92C9-45D6-B662-039E52B4FD45}" dt="2021-09-30T12:36:34.225" v="15" actId="2696"/>
        <pc:sldMkLst>
          <pc:docMk/>
          <pc:sldMk cId="3327352983" sldId="2021"/>
        </pc:sldMkLst>
      </pc:sldChg>
      <pc:sldChg chg="del">
        <pc:chgData name="Justin Evans (CE SP)" userId="47353291-c02c-44a9-b576-fcb26b0c3050" providerId="ADAL" clId="{72B18ABD-92C9-45D6-B662-039E52B4FD45}" dt="2021-09-30T12:36:38.620" v="16" actId="2696"/>
        <pc:sldMkLst>
          <pc:docMk/>
          <pc:sldMk cId="1236316091" sldId="2022"/>
        </pc:sldMkLst>
      </pc:sldChg>
      <pc:sldChg chg="delSp modSp new del mod">
        <pc:chgData name="Justin Evans (CE SP)" userId="47353291-c02c-44a9-b576-fcb26b0c3050" providerId="ADAL" clId="{72B18ABD-92C9-45D6-B662-039E52B4FD45}" dt="2021-10-04T18:00:54.761" v="149" actId="2696"/>
        <pc:sldMkLst>
          <pc:docMk/>
          <pc:sldMk cId="3752732863" sldId="2025"/>
        </pc:sldMkLst>
        <pc:spChg chg="mod">
          <ac:chgData name="Justin Evans (CE SP)" userId="47353291-c02c-44a9-b576-fcb26b0c3050" providerId="ADAL" clId="{72B18ABD-92C9-45D6-B662-039E52B4FD45}" dt="2021-09-30T12:51:24.500" v="69" actId="20577"/>
          <ac:spMkLst>
            <pc:docMk/>
            <pc:sldMk cId="3752732863" sldId="2025"/>
            <ac:spMk id="2" creationId="{F3813730-5982-4D67-97A5-D1C93B884B48}"/>
          </ac:spMkLst>
        </pc:spChg>
        <pc:spChg chg="del">
          <ac:chgData name="Justin Evans (CE SP)" userId="47353291-c02c-44a9-b576-fcb26b0c3050" providerId="ADAL" clId="{72B18ABD-92C9-45D6-B662-039E52B4FD45}" dt="2021-09-30T12:51:30.042" v="70" actId="478"/>
          <ac:spMkLst>
            <pc:docMk/>
            <pc:sldMk cId="3752732863" sldId="2025"/>
            <ac:spMk id="3" creationId="{258D62A9-7C43-4689-B727-F083B4085114}"/>
          </ac:spMkLst>
        </pc:spChg>
      </pc:sldChg>
      <pc:sldMasterChg chg="del delSldLayout">
        <pc:chgData name="Justin Evans (CE SP)" userId="47353291-c02c-44a9-b576-fcb26b0c3050" providerId="ADAL" clId="{72B18ABD-92C9-45D6-B662-039E52B4FD45}" dt="2021-09-30T12:34:54.268" v="0" actId="2696"/>
        <pc:sldMasterMkLst>
          <pc:docMk/>
          <pc:sldMasterMk cId="3138866671" sldId="2147483990"/>
        </pc:sldMasterMkLst>
        <pc:sldLayoutChg chg="del">
          <pc:chgData name="Justin Evans (CE SP)" userId="47353291-c02c-44a9-b576-fcb26b0c3050" providerId="ADAL" clId="{72B18ABD-92C9-45D6-B662-039E52B4FD45}" dt="2021-09-30T12:34:54.268" v="0" actId="2696"/>
          <pc:sldLayoutMkLst>
            <pc:docMk/>
            <pc:sldMasterMk cId="3138866671" sldId="2147483990"/>
            <pc:sldLayoutMk cId="1225445844" sldId="2147483991"/>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128073608" sldId="2147483992"/>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611871824" sldId="2147483993"/>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381726192" sldId="2147483994"/>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633400075" sldId="2147483995"/>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025559163" sldId="2147483996"/>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978647275" sldId="2147483997"/>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116855824" sldId="2147483998"/>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566546305" sldId="2147483999"/>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401725589" sldId="2147484000"/>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716957870" sldId="2147484001"/>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482717613" sldId="2147484002"/>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508755777" sldId="2147484003"/>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756118918" sldId="2147484004"/>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434779669" sldId="2147484005"/>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370073269" sldId="2147484006"/>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641343874" sldId="2147484007"/>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216216901" sldId="2147484008"/>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320697965" sldId="2147484009"/>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881002593" sldId="2147484010"/>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491582711" sldId="2147484011"/>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526330969" sldId="2147484012"/>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353817919" sldId="2147484013"/>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570858718" sldId="2147484014"/>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130694076" sldId="2147484015"/>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924444472" sldId="2147484016"/>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237381773" sldId="2147484017"/>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19041650" sldId="2147484018"/>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876849995" sldId="2147484019"/>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442093490" sldId="2147484020"/>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523462488" sldId="2147484021"/>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912418055" sldId="2147484022"/>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300962889" sldId="2147484023"/>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484416189" sldId="2147484024"/>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618353612" sldId="2147484025"/>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184326568" sldId="2147484026"/>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795046949" sldId="2147484027"/>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831624703" sldId="2147484028"/>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255432458" sldId="2147484029"/>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774246453" sldId="2147484030"/>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847334346" sldId="2147484031"/>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161492002" sldId="2147484032"/>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349658073" sldId="2147484033"/>
          </pc:sldLayoutMkLst>
        </pc:sldLayoutChg>
        <pc:sldLayoutChg chg="del">
          <pc:chgData name="Justin Evans (CE SP)" userId="47353291-c02c-44a9-b576-fcb26b0c3050" providerId="ADAL" clId="{72B18ABD-92C9-45D6-B662-039E52B4FD45}" dt="2021-09-30T12:34:54.268" v="0" actId="2696"/>
          <pc:sldLayoutMkLst>
            <pc:docMk/>
            <pc:sldMasterMk cId="3138866671" sldId="2147483990"/>
            <pc:sldLayoutMk cId="238762808" sldId="2147484034"/>
          </pc:sldLayoutMkLst>
        </pc:sldLayoutChg>
      </pc:sldMasterChg>
    </pc:docChg>
  </pc:docChgLst>
  <pc:docChgLst>
    <pc:chgData name="Matias Rama" userId="bdb996b8-8278-412a-926d-fa225ff77c33" providerId="ADAL" clId="{5D10714D-C049-47A7-B22A-F0B7811F07CA}"/>
    <pc:docChg chg="undo custSel addSld delSld modSld">
      <pc:chgData name="Matias Rama" userId="bdb996b8-8278-412a-926d-fa225ff77c33" providerId="ADAL" clId="{5D10714D-C049-47A7-B22A-F0B7811F07CA}" dt="2020-05-05T23:14:32.480" v="42" actId="20577"/>
      <pc:docMkLst>
        <pc:docMk/>
      </pc:docMkLst>
      <pc:sldChg chg="modSp mod">
        <pc:chgData name="Matias Rama" userId="bdb996b8-8278-412a-926d-fa225ff77c33" providerId="ADAL" clId="{5D10714D-C049-47A7-B22A-F0B7811F07CA}" dt="2020-05-05T23:14:32.480" v="42" actId="20577"/>
        <pc:sldMkLst>
          <pc:docMk/>
          <pc:sldMk cId="1325058836" sldId="256"/>
        </pc:sldMkLst>
        <pc:spChg chg="mod">
          <ac:chgData name="Matias Rama" userId="bdb996b8-8278-412a-926d-fa225ff77c33" providerId="ADAL" clId="{5D10714D-C049-47A7-B22A-F0B7811F07CA}" dt="2020-05-05T23:14:32.480" v="42" actId="20577"/>
          <ac:spMkLst>
            <pc:docMk/>
            <pc:sldMk cId="1325058836" sldId="256"/>
            <ac:spMk id="6" creationId="{00000000-0000-0000-0000-000000000000}"/>
          </ac:spMkLst>
        </pc:spChg>
      </pc:sldChg>
      <pc:sldChg chg="mod modShow">
        <pc:chgData name="Matias Rama" userId="bdb996b8-8278-412a-926d-fa225ff77c33" providerId="ADAL" clId="{5D10714D-C049-47A7-B22A-F0B7811F07CA}" dt="2020-05-05T22:41:02.216" v="23" actId="729"/>
        <pc:sldMkLst>
          <pc:docMk/>
          <pc:sldMk cId="4186606887" sldId="262"/>
        </pc:sldMkLst>
      </pc:sldChg>
      <pc:sldChg chg="mod modShow">
        <pc:chgData name="Matias Rama" userId="bdb996b8-8278-412a-926d-fa225ff77c33" providerId="ADAL" clId="{5D10714D-C049-47A7-B22A-F0B7811F07CA}" dt="2020-05-05T22:43:14.710" v="38" actId="729"/>
        <pc:sldMkLst>
          <pc:docMk/>
          <pc:sldMk cId="3525975785" sldId="382"/>
        </pc:sldMkLst>
      </pc:sldChg>
      <pc:sldChg chg="mod modShow">
        <pc:chgData name="Matias Rama" userId="bdb996b8-8278-412a-926d-fa225ff77c33" providerId="ADAL" clId="{5D10714D-C049-47A7-B22A-F0B7811F07CA}" dt="2020-05-05T22:41:02.216" v="23" actId="729"/>
        <pc:sldMkLst>
          <pc:docMk/>
          <pc:sldMk cId="2750993272" sldId="399"/>
        </pc:sldMkLst>
      </pc:sldChg>
      <pc:sldChg chg="modSp">
        <pc:chgData name="Matias Rama" userId="bdb996b8-8278-412a-926d-fa225ff77c33" providerId="ADAL" clId="{5D10714D-C049-47A7-B22A-F0B7811F07CA}" dt="2020-05-05T22:43:19.849" v="39" actId="207"/>
        <pc:sldMkLst>
          <pc:docMk/>
          <pc:sldMk cId="1323131104" sldId="423"/>
        </pc:sldMkLst>
        <pc:spChg chg="mod">
          <ac:chgData name="Matias Rama" userId="bdb996b8-8278-412a-926d-fa225ff77c33" providerId="ADAL" clId="{5D10714D-C049-47A7-B22A-F0B7811F07CA}" dt="2020-05-05T22:43:19.849" v="39" actId="207"/>
          <ac:spMkLst>
            <pc:docMk/>
            <pc:sldMk cId="1323131104" sldId="423"/>
            <ac:spMk id="2" creationId="{00000000-0000-0000-0000-000000000000}"/>
          </ac:spMkLst>
        </pc:spChg>
      </pc:sldChg>
      <pc:sldChg chg="modSp">
        <pc:chgData name="Matias Rama" userId="bdb996b8-8278-412a-926d-fa225ff77c33" providerId="ADAL" clId="{5D10714D-C049-47A7-B22A-F0B7811F07CA}" dt="2020-05-05T22:41:39.526" v="26" actId="207"/>
        <pc:sldMkLst>
          <pc:docMk/>
          <pc:sldMk cId="3716265243" sldId="1966"/>
        </pc:sldMkLst>
        <pc:spChg chg="mod">
          <ac:chgData name="Matias Rama" userId="bdb996b8-8278-412a-926d-fa225ff77c33" providerId="ADAL" clId="{5D10714D-C049-47A7-B22A-F0B7811F07CA}" dt="2020-05-05T22:41:39.526" v="26" actId="207"/>
          <ac:spMkLst>
            <pc:docMk/>
            <pc:sldMk cId="3716265243" sldId="1966"/>
            <ac:spMk id="2" creationId="{C962C15F-95E3-481D-A0CF-AE6555E28DA2}"/>
          </ac:spMkLst>
        </pc:spChg>
      </pc:sldChg>
      <pc:sldChg chg="mod modShow">
        <pc:chgData name="Matias Rama" userId="bdb996b8-8278-412a-926d-fa225ff77c33" providerId="ADAL" clId="{5D10714D-C049-47A7-B22A-F0B7811F07CA}" dt="2020-05-05T22:42:34.333" v="34" actId="729"/>
        <pc:sldMkLst>
          <pc:docMk/>
          <pc:sldMk cId="12318851" sldId="1967"/>
        </pc:sldMkLst>
      </pc:sldChg>
      <pc:sldChg chg="mod modShow">
        <pc:chgData name="Matias Rama" userId="bdb996b8-8278-412a-926d-fa225ff77c33" providerId="ADAL" clId="{5D10714D-C049-47A7-B22A-F0B7811F07CA}" dt="2020-05-05T22:39:19.352" v="19" actId="729"/>
        <pc:sldMkLst>
          <pc:docMk/>
          <pc:sldMk cId="1097285130" sldId="1969"/>
        </pc:sldMkLst>
      </pc:sldChg>
      <pc:sldChg chg="modSp">
        <pc:chgData name="Matias Rama" userId="bdb996b8-8278-412a-926d-fa225ff77c33" providerId="ADAL" clId="{5D10714D-C049-47A7-B22A-F0B7811F07CA}" dt="2020-05-05T22:41:24.226" v="25" actId="207"/>
        <pc:sldMkLst>
          <pc:docMk/>
          <pc:sldMk cId="2363988451" sldId="1975"/>
        </pc:sldMkLst>
        <pc:spChg chg="mod">
          <ac:chgData name="Matias Rama" userId="bdb996b8-8278-412a-926d-fa225ff77c33" providerId="ADAL" clId="{5D10714D-C049-47A7-B22A-F0B7811F07CA}" dt="2020-05-05T22:41:24.226" v="25" actId="207"/>
          <ac:spMkLst>
            <pc:docMk/>
            <pc:sldMk cId="2363988451" sldId="1975"/>
            <ac:spMk id="4" creationId="{CFC532B9-1692-43B5-938B-BB438AC5343F}"/>
          </ac:spMkLst>
        </pc:spChg>
      </pc:sldChg>
      <pc:sldChg chg="mod modShow">
        <pc:chgData name="Matias Rama" userId="bdb996b8-8278-412a-926d-fa225ff77c33" providerId="ADAL" clId="{5D10714D-C049-47A7-B22A-F0B7811F07CA}" dt="2020-05-05T22:37:06.399" v="7" actId="729"/>
        <pc:sldMkLst>
          <pc:docMk/>
          <pc:sldMk cId="1735364846" sldId="1981"/>
        </pc:sldMkLst>
      </pc:sldChg>
      <pc:sldChg chg="mod modShow">
        <pc:chgData name="Matias Rama" userId="bdb996b8-8278-412a-926d-fa225ff77c33" providerId="ADAL" clId="{5D10714D-C049-47A7-B22A-F0B7811F07CA}" dt="2020-05-05T22:39:19.352" v="19" actId="729"/>
        <pc:sldMkLst>
          <pc:docMk/>
          <pc:sldMk cId="2383933296" sldId="1988"/>
        </pc:sldMkLst>
      </pc:sldChg>
      <pc:sldChg chg="mod modShow">
        <pc:chgData name="Matias Rama" userId="bdb996b8-8278-412a-926d-fa225ff77c33" providerId="ADAL" clId="{5D10714D-C049-47A7-B22A-F0B7811F07CA}" dt="2020-05-05T22:39:19.352" v="19" actId="729"/>
        <pc:sldMkLst>
          <pc:docMk/>
          <pc:sldMk cId="2070064816" sldId="1989"/>
        </pc:sldMkLst>
      </pc:sldChg>
      <pc:sldChg chg="modSp">
        <pc:chgData name="Matias Rama" userId="bdb996b8-8278-412a-926d-fa225ff77c33" providerId="ADAL" clId="{5D10714D-C049-47A7-B22A-F0B7811F07CA}" dt="2020-05-05T22:35:55.949" v="3" actId="207"/>
        <pc:sldMkLst>
          <pc:docMk/>
          <pc:sldMk cId="1831265177" sldId="1990"/>
        </pc:sldMkLst>
        <pc:spChg chg="mod">
          <ac:chgData name="Matias Rama" userId="bdb996b8-8278-412a-926d-fa225ff77c33" providerId="ADAL" clId="{5D10714D-C049-47A7-B22A-F0B7811F07CA}" dt="2020-05-05T22:35:55.949" v="3" actId="207"/>
          <ac:spMkLst>
            <pc:docMk/>
            <pc:sldMk cId="1831265177" sldId="1990"/>
            <ac:spMk id="2" creationId="{00000000-0000-0000-0000-000000000000}"/>
          </ac:spMkLst>
        </pc:spChg>
      </pc:sldChg>
      <pc:sldChg chg="modSp">
        <pc:chgData name="Matias Rama" userId="bdb996b8-8278-412a-926d-fa225ff77c33" providerId="ADAL" clId="{5D10714D-C049-47A7-B22A-F0B7811F07CA}" dt="2020-05-05T22:39:26.035" v="20" actId="207"/>
        <pc:sldMkLst>
          <pc:docMk/>
          <pc:sldMk cId="3571336088" sldId="1991"/>
        </pc:sldMkLst>
        <pc:spChg chg="mod">
          <ac:chgData name="Matias Rama" userId="bdb996b8-8278-412a-926d-fa225ff77c33" providerId="ADAL" clId="{5D10714D-C049-47A7-B22A-F0B7811F07CA}" dt="2020-05-05T22:39:26.035" v="20" actId="207"/>
          <ac:spMkLst>
            <pc:docMk/>
            <pc:sldMk cId="3571336088" sldId="1991"/>
            <ac:spMk id="4" creationId="{12D8DE96-0708-4A7F-9C9B-9D0A5B378080}"/>
          </ac:spMkLst>
        </pc:spChg>
      </pc:sldChg>
      <pc:sldChg chg="mod modShow">
        <pc:chgData name="Matias Rama" userId="bdb996b8-8278-412a-926d-fa225ff77c33" providerId="ADAL" clId="{5D10714D-C049-47A7-B22A-F0B7811F07CA}" dt="2020-05-05T22:36:35.765" v="5" actId="729"/>
        <pc:sldMkLst>
          <pc:docMk/>
          <pc:sldMk cId="4176708396" sldId="1992"/>
        </pc:sldMkLst>
      </pc:sldChg>
      <pc:sldChg chg="modSp">
        <pc:chgData name="Matias Rama" userId="bdb996b8-8278-412a-926d-fa225ff77c33" providerId="ADAL" clId="{5D10714D-C049-47A7-B22A-F0B7811F07CA}" dt="2020-05-05T22:36:49.827" v="6" actId="207"/>
        <pc:sldMkLst>
          <pc:docMk/>
          <pc:sldMk cId="1675654522" sldId="1993"/>
        </pc:sldMkLst>
        <pc:spChg chg="mod">
          <ac:chgData name="Matias Rama" userId="bdb996b8-8278-412a-926d-fa225ff77c33" providerId="ADAL" clId="{5D10714D-C049-47A7-B22A-F0B7811F07CA}" dt="2020-05-05T22:36:49.827" v="6" actId="207"/>
          <ac:spMkLst>
            <pc:docMk/>
            <pc:sldMk cId="1675654522" sldId="1993"/>
            <ac:spMk id="2" creationId="{C412911D-CE3F-4DB3-847D-31A13A2A1E57}"/>
          </ac:spMkLst>
        </pc:spChg>
      </pc:sldChg>
      <pc:sldChg chg="add del">
        <pc:chgData name="Matias Rama" userId="bdb996b8-8278-412a-926d-fa225ff77c33" providerId="ADAL" clId="{5D10714D-C049-47A7-B22A-F0B7811F07CA}" dt="2020-05-05T22:35:29.151" v="2" actId="22"/>
        <pc:sldMkLst>
          <pc:docMk/>
          <pc:sldMk cId="829854860" sldId="1994"/>
        </pc:sldMkLst>
      </pc:sldChg>
      <pc:sldChg chg="add">
        <pc:chgData name="Matias Rama" userId="bdb996b8-8278-412a-926d-fa225ff77c33" providerId="ADAL" clId="{5D10714D-C049-47A7-B22A-F0B7811F07CA}" dt="2020-05-05T22:36:26.877" v="4" actId="22"/>
        <pc:sldMkLst>
          <pc:docMk/>
          <pc:sldMk cId="102007623" sldId="1995"/>
        </pc:sldMkLst>
      </pc:sldChg>
      <pc:sldChg chg="add modNotesTx">
        <pc:chgData name="Matias Rama" userId="bdb996b8-8278-412a-926d-fa225ff77c33" providerId="ADAL" clId="{5D10714D-C049-47A7-B22A-F0B7811F07CA}" dt="2020-05-05T22:38:58.116" v="18" actId="20577"/>
        <pc:sldMkLst>
          <pc:docMk/>
          <pc:sldMk cId="2875695618" sldId="1996"/>
        </pc:sldMkLst>
      </pc:sldChg>
      <pc:sldChg chg="add">
        <pc:chgData name="Matias Rama" userId="bdb996b8-8278-412a-926d-fa225ff77c33" providerId="ADAL" clId="{5D10714D-C049-47A7-B22A-F0B7811F07CA}" dt="2020-05-05T22:37:53.818" v="8" actId="22"/>
        <pc:sldMkLst>
          <pc:docMk/>
          <pc:sldMk cId="3612004523" sldId="1997"/>
        </pc:sldMkLst>
      </pc:sldChg>
      <pc:sldChg chg="modSp add mod">
        <pc:chgData name="Matias Rama" userId="bdb996b8-8278-412a-926d-fa225ff77c33" providerId="ADAL" clId="{5D10714D-C049-47A7-B22A-F0B7811F07CA}" dt="2020-05-05T22:38:19.917" v="13" actId="1076"/>
        <pc:sldMkLst>
          <pc:docMk/>
          <pc:sldMk cId="4009327331" sldId="1998"/>
        </pc:sldMkLst>
        <pc:spChg chg="mod">
          <ac:chgData name="Matias Rama" userId="bdb996b8-8278-412a-926d-fa225ff77c33" providerId="ADAL" clId="{5D10714D-C049-47A7-B22A-F0B7811F07CA}" dt="2020-05-05T22:38:19.917" v="13" actId="1076"/>
          <ac:spMkLst>
            <pc:docMk/>
            <pc:sldMk cId="4009327331" sldId="1998"/>
            <ac:spMk id="2" creationId="{F9ACD297-C7E3-465A-AF5F-25A499F70BA3}"/>
          </ac:spMkLst>
        </pc:spChg>
        <pc:picChg chg="mod">
          <ac:chgData name="Matias Rama" userId="bdb996b8-8278-412a-926d-fa225ff77c33" providerId="ADAL" clId="{5D10714D-C049-47A7-B22A-F0B7811F07CA}" dt="2020-05-05T22:38:14.087" v="12" actId="1076"/>
          <ac:picMkLst>
            <pc:docMk/>
            <pc:sldMk cId="4009327331" sldId="1998"/>
            <ac:picMk id="3" creationId="{60A4E84E-582B-45B1-9302-659A6D9E77DD}"/>
          </ac:picMkLst>
        </pc:picChg>
      </pc:sldChg>
      <pc:sldChg chg="add">
        <pc:chgData name="Matias Rama" userId="bdb996b8-8278-412a-926d-fa225ff77c33" providerId="ADAL" clId="{5D10714D-C049-47A7-B22A-F0B7811F07CA}" dt="2020-05-05T22:40:36.743" v="21" actId="22"/>
        <pc:sldMkLst>
          <pc:docMk/>
          <pc:sldMk cId="1491234068" sldId="1999"/>
        </pc:sldMkLst>
      </pc:sldChg>
      <pc:sldChg chg="add">
        <pc:chgData name="Matias Rama" userId="bdb996b8-8278-412a-926d-fa225ff77c33" providerId="ADAL" clId="{5D10714D-C049-47A7-B22A-F0B7811F07CA}" dt="2020-05-05T22:40:36.743" v="21" actId="22"/>
        <pc:sldMkLst>
          <pc:docMk/>
          <pc:sldMk cId="3816319392" sldId="2000"/>
        </pc:sldMkLst>
      </pc:sldChg>
      <pc:sldChg chg="add">
        <pc:chgData name="Matias Rama" userId="bdb996b8-8278-412a-926d-fa225ff77c33" providerId="ADAL" clId="{5D10714D-C049-47A7-B22A-F0B7811F07CA}" dt="2020-05-05T22:40:48.468" v="22" actId="22"/>
        <pc:sldMkLst>
          <pc:docMk/>
          <pc:sldMk cId="3916075055" sldId="2001"/>
        </pc:sldMkLst>
      </pc:sldChg>
      <pc:sldChg chg="modSp add mod">
        <pc:chgData name="Matias Rama" userId="bdb996b8-8278-412a-926d-fa225ff77c33" providerId="ADAL" clId="{5D10714D-C049-47A7-B22A-F0B7811F07CA}" dt="2020-05-05T22:42:30.412" v="33" actId="1076"/>
        <pc:sldMkLst>
          <pc:docMk/>
          <pc:sldMk cId="989663208" sldId="2002"/>
        </pc:sldMkLst>
        <pc:spChg chg="mod">
          <ac:chgData name="Matias Rama" userId="bdb996b8-8278-412a-926d-fa225ff77c33" providerId="ADAL" clId="{5D10714D-C049-47A7-B22A-F0B7811F07CA}" dt="2020-05-05T22:42:30.412" v="33" actId="1076"/>
          <ac:spMkLst>
            <pc:docMk/>
            <pc:sldMk cId="989663208" sldId="2002"/>
            <ac:spMk id="11" creationId="{03F59770-AD8B-469B-A88E-3E29D4DA280A}"/>
          </ac:spMkLst>
        </pc:spChg>
        <pc:picChg chg="mod">
          <ac:chgData name="Matias Rama" userId="bdb996b8-8278-412a-926d-fa225ff77c33" providerId="ADAL" clId="{5D10714D-C049-47A7-B22A-F0B7811F07CA}" dt="2020-05-05T22:42:24.327" v="32" actId="1037"/>
          <ac:picMkLst>
            <pc:docMk/>
            <pc:sldMk cId="989663208" sldId="2002"/>
            <ac:picMk id="14" creationId="{9398E18F-7D35-467D-9310-E971B43FDCC3}"/>
          </ac:picMkLst>
        </pc:picChg>
      </pc:sldChg>
      <pc:sldChg chg="add">
        <pc:chgData name="Matias Rama" userId="bdb996b8-8278-412a-926d-fa225ff77c33" providerId="ADAL" clId="{5D10714D-C049-47A7-B22A-F0B7811F07CA}" dt="2020-05-05T22:43:00.115" v="37" actId="22"/>
        <pc:sldMkLst>
          <pc:docMk/>
          <pc:sldMk cId="3314700211" sldId="2003"/>
        </pc:sldMkLst>
      </pc:sldChg>
      <pc:sldChg chg="add del">
        <pc:chgData name="Matias Rama" userId="bdb996b8-8278-412a-926d-fa225ff77c33" providerId="ADAL" clId="{5D10714D-C049-47A7-B22A-F0B7811F07CA}" dt="2020-05-05T22:42:48.764" v="36" actId="47"/>
        <pc:sldMkLst>
          <pc:docMk/>
          <pc:sldMk cId="3981269235" sldId="2003"/>
        </pc:sldMkLst>
      </pc:sldChg>
      <pc:sldMasterChg chg="addSldLayout">
        <pc:chgData name="Matias Rama" userId="bdb996b8-8278-412a-926d-fa225ff77c33" providerId="ADAL" clId="{5D10714D-C049-47A7-B22A-F0B7811F07CA}" dt="2020-05-05T22:36:26.877" v="4" actId="22"/>
        <pc:sldMasterMkLst>
          <pc:docMk/>
          <pc:sldMasterMk cId="1150004912" sldId="2147484275"/>
        </pc:sldMasterMkLst>
        <pc:sldLayoutChg chg="add">
          <pc:chgData name="Matias Rama" userId="bdb996b8-8278-412a-926d-fa225ff77c33" providerId="ADAL" clId="{5D10714D-C049-47A7-B22A-F0B7811F07CA}" dt="2020-05-05T22:36:26.877" v="4" actId="22"/>
          <pc:sldLayoutMkLst>
            <pc:docMk/>
            <pc:sldMasterMk cId="1150004912" sldId="2147484275"/>
            <pc:sldLayoutMk cId="3917844343" sldId="2147484312"/>
          </pc:sldLayoutMkLst>
        </pc:sldLayoutChg>
      </pc:sldMasterChg>
    </pc:docChg>
  </pc:docChgLst>
  <pc:docChgLst>
    <pc:chgData name="Asia Gandecka" userId="d4533edf-3129-4e97-a6db-54867d5d9a08" providerId="ADAL" clId="{589596F8-DEBB-4D6F-8716-DC3B8C328166}"/>
    <pc:docChg chg="undo redo custSel mod addSld delSld modSld sldOrd">
      <pc:chgData name="Asia Gandecka" userId="d4533edf-3129-4e97-a6db-54867d5d9a08" providerId="ADAL" clId="{589596F8-DEBB-4D6F-8716-DC3B8C328166}" dt="2019-04-24T22:18:50.022" v="1733" actId="20577"/>
      <pc:docMkLst>
        <pc:docMk/>
      </pc:docMkLst>
      <pc:sldChg chg="modSp">
        <pc:chgData name="Asia Gandecka" userId="d4533edf-3129-4e97-a6db-54867d5d9a08" providerId="ADAL" clId="{589596F8-DEBB-4D6F-8716-DC3B8C328166}" dt="2019-04-24T01:58:15.681" v="11" actId="20577"/>
        <pc:sldMkLst>
          <pc:docMk/>
          <pc:sldMk cId="1325058836" sldId="256"/>
        </pc:sldMkLst>
        <pc:spChg chg="mod">
          <ac:chgData name="Asia Gandecka" userId="d4533edf-3129-4e97-a6db-54867d5d9a08" providerId="ADAL" clId="{589596F8-DEBB-4D6F-8716-DC3B8C328166}" dt="2019-04-24T01:58:15.681" v="11" actId="20577"/>
          <ac:spMkLst>
            <pc:docMk/>
            <pc:sldMk cId="1325058836" sldId="256"/>
            <ac:spMk id="6" creationId="{00000000-0000-0000-0000-000000000000}"/>
          </ac:spMkLst>
        </pc:spChg>
      </pc:sldChg>
      <pc:sldChg chg="addSp delSp modSp add ord modNotesTx">
        <pc:chgData name="Asia Gandecka" userId="d4533edf-3129-4e97-a6db-54867d5d9a08" providerId="ADAL" clId="{589596F8-DEBB-4D6F-8716-DC3B8C328166}" dt="2019-04-24T21:13:44.403" v="358"/>
        <pc:sldMkLst>
          <pc:docMk/>
          <pc:sldMk cId="4186606887" sldId="262"/>
        </pc:sldMkLst>
        <pc:spChg chg="mod">
          <ac:chgData name="Asia Gandecka" userId="d4533edf-3129-4e97-a6db-54867d5d9a08" providerId="ADAL" clId="{589596F8-DEBB-4D6F-8716-DC3B8C328166}" dt="2019-04-24T02:17:12.388" v="137" actId="403"/>
          <ac:spMkLst>
            <pc:docMk/>
            <pc:sldMk cId="4186606887" sldId="262"/>
            <ac:spMk id="2" creationId="{00000000-0000-0000-0000-000000000000}"/>
          </ac:spMkLst>
        </pc:spChg>
        <pc:spChg chg="del mod">
          <ac:chgData name="Asia Gandecka" userId="d4533edf-3129-4e97-a6db-54867d5d9a08" providerId="ADAL" clId="{589596F8-DEBB-4D6F-8716-DC3B8C328166}" dt="2019-04-24T02:16:45.379" v="129"/>
          <ac:spMkLst>
            <pc:docMk/>
            <pc:sldMk cId="4186606887" sldId="262"/>
            <ac:spMk id="3" creationId="{B7489E83-F33A-4360-BAB3-70AE5CDE46C6}"/>
          </ac:spMkLst>
        </pc:spChg>
        <pc:spChg chg="add mod">
          <ac:chgData name="Asia Gandecka" userId="d4533edf-3129-4e97-a6db-54867d5d9a08" providerId="ADAL" clId="{589596F8-DEBB-4D6F-8716-DC3B8C328166}" dt="2019-04-24T02:16:43.286" v="128"/>
          <ac:spMkLst>
            <pc:docMk/>
            <pc:sldMk cId="4186606887" sldId="262"/>
            <ac:spMk id="4" creationId="{125E8924-C304-4247-9EF9-F3D3E5B136BE}"/>
          </ac:spMkLst>
        </pc:spChg>
        <pc:spChg chg="add del mod">
          <ac:chgData name="Asia Gandecka" userId="d4533edf-3129-4e97-a6db-54867d5d9a08" providerId="ADAL" clId="{589596F8-DEBB-4D6F-8716-DC3B8C328166}" dt="2019-04-24T02:16:45.379" v="129"/>
          <ac:spMkLst>
            <pc:docMk/>
            <pc:sldMk cId="4186606887" sldId="262"/>
            <ac:spMk id="5" creationId="{84EEC527-C052-46A9-B871-0FA6A0B8C7C1}"/>
          </ac:spMkLst>
        </pc:spChg>
        <pc:spChg chg="add del mod">
          <ac:chgData name="Asia Gandecka" userId="d4533edf-3129-4e97-a6db-54867d5d9a08" providerId="ADAL" clId="{589596F8-DEBB-4D6F-8716-DC3B8C328166}" dt="2019-04-24T02:16:49.953" v="130" actId="478"/>
          <ac:spMkLst>
            <pc:docMk/>
            <pc:sldMk cId="4186606887" sldId="262"/>
            <ac:spMk id="6" creationId="{E6159A61-F79A-4FFF-A197-8D484C83ED00}"/>
          </ac:spMkLst>
        </pc:spChg>
        <pc:spChg chg="mod">
          <ac:chgData name="Asia Gandecka" userId="d4533edf-3129-4e97-a6db-54867d5d9a08" providerId="ADAL" clId="{589596F8-DEBB-4D6F-8716-DC3B8C328166}" dt="2019-04-24T02:17:30.328" v="140" actId="14100"/>
          <ac:spMkLst>
            <pc:docMk/>
            <pc:sldMk cId="4186606887" sldId="262"/>
            <ac:spMk id="21" creationId="{00000000-0000-0000-0000-000000000000}"/>
          </ac:spMkLst>
        </pc:spChg>
        <pc:spChg chg="mod">
          <ac:chgData name="Asia Gandecka" userId="d4533edf-3129-4e97-a6db-54867d5d9a08" providerId="ADAL" clId="{589596F8-DEBB-4D6F-8716-DC3B8C328166}" dt="2019-04-24T02:17:43.809" v="142" actId="255"/>
          <ac:spMkLst>
            <pc:docMk/>
            <pc:sldMk cId="4186606887" sldId="262"/>
            <ac:spMk id="24" creationId="{00000000-0000-0000-0000-000000000000}"/>
          </ac:spMkLst>
        </pc:spChg>
        <pc:spChg chg="mod">
          <ac:chgData name="Asia Gandecka" userId="d4533edf-3129-4e97-a6db-54867d5d9a08" providerId="ADAL" clId="{589596F8-DEBB-4D6F-8716-DC3B8C328166}" dt="2019-04-24T02:17:47.575" v="143" actId="14100"/>
          <ac:spMkLst>
            <pc:docMk/>
            <pc:sldMk cId="4186606887" sldId="262"/>
            <ac:spMk id="27" creationId="{00000000-0000-0000-0000-000000000000}"/>
          </ac:spMkLst>
        </pc:spChg>
        <pc:grpChg chg="mod">
          <ac:chgData name="Asia Gandecka" userId="d4533edf-3129-4e97-a6db-54867d5d9a08" providerId="ADAL" clId="{589596F8-DEBB-4D6F-8716-DC3B8C328166}" dt="2019-04-24T02:17:11.627" v="136" actId="1076"/>
          <ac:grpSpMkLst>
            <pc:docMk/>
            <pc:sldMk cId="4186606887" sldId="262"/>
            <ac:grpSpMk id="19" creationId="{00000000-0000-0000-0000-000000000000}"/>
          </ac:grpSpMkLst>
        </pc:grpChg>
        <pc:grpChg chg="mod">
          <ac:chgData name="Asia Gandecka" userId="d4533edf-3129-4e97-a6db-54867d5d9a08" providerId="ADAL" clId="{589596F8-DEBB-4D6F-8716-DC3B8C328166}" dt="2019-04-24T02:17:26.067" v="139" actId="14100"/>
          <ac:grpSpMkLst>
            <pc:docMk/>
            <pc:sldMk cId="4186606887" sldId="262"/>
            <ac:grpSpMk id="20" creationId="{00000000-0000-0000-0000-000000000000}"/>
          </ac:grpSpMkLst>
        </pc:grpChg>
        <pc:grpChg chg="mod">
          <ac:chgData name="Asia Gandecka" userId="d4533edf-3129-4e97-a6db-54867d5d9a08" providerId="ADAL" clId="{589596F8-DEBB-4D6F-8716-DC3B8C328166}" dt="2019-04-24T02:18:01.423" v="146" actId="14100"/>
          <ac:grpSpMkLst>
            <pc:docMk/>
            <pc:sldMk cId="4186606887" sldId="262"/>
            <ac:grpSpMk id="23" creationId="{00000000-0000-0000-0000-000000000000}"/>
          </ac:grpSpMkLst>
        </pc:grpChg>
        <pc:grpChg chg="mod">
          <ac:chgData name="Asia Gandecka" userId="d4533edf-3129-4e97-a6db-54867d5d9a08" providerId="ADAL" clId="{589596F8-DEBB-4D6F-8716-DC3B8C328166}" dt="2019-04-24T02:17:50.855" v="144" actId="14100"/>
          <ac:grpSpMkLst>
            <pc:docMk/>
            <pc:sldMk cId="4186606887" sldId="262"/>
            <ac:grpSpMk id="26" creationId="{00000000-0000-0000-0000-000000000000}"/>
          </ac:grpSpMkLst>
        </pc:grpChg>
      </pc:sldChg>
      <pc:sldChg chg="modSp">
        <pc:chgData name="Asia Gandecka" userId="d4533edf-3129-4e97-a6db-54867d5d9a08" providerId="ADAL" clId="{589596F8-DEBB-4D6F-8716-DC3B8C328166}" dt="2019-04-24T22:18:39.705" v="1730" actId="20577"/>
        <pc:sldMkLst>
          <pc:docMk/>
          <pc:sldMk cId="2355728576" sldId="278"/>
        </pc:sldMkLst>
        <pc:spChg chg="mod">
          <ac:chgData name="Asia Gandecka" userId="d4533edf-3129-4e97-a6db-54867d5d9a08" providerId="ADAL" clId="{589596F8-DEBB-4D6F-8716-DC3B8C328166}" dt="2019-04-24T22:18:39.705" v="1730" actId="20577"/>
          <ac:spMkLst>
            <pc:docMk/>
            <pc:sldMk cId="2355728576" sldId="278"/>
            <ac:spMk id="3" creationId="{4C7B2818-D4B6-49AF-BC6D-48A87C308A7A}"/>
          </ac:spMkLst>
        </pc:spChg>
      </pc:sldChg>
      <pc:sldChg chg="modSp">
        <pc:chgData name="Asia Gandecka" userId="d4533edf-3129-4e97-a6db-54867d5d9a08" providerId="ADAL" clId="{589596F8-DEBB-4D6F-8716-DC3B8C328166}" dt="2019-04-24T22:18:50.022" v="1733" actId="20577"/>
        <pc:sldMkLst>
          <pc:docMk/>
          <pc:sldMk cId="3550844832" sldId="283"/>
        </pc:sldMkLst>
        <pc:spChg chg="mod">
          <ac:chgData name="Asia Gandecka" userId="d4533edf-3129-4e97-a6db-54867d5d9a08" providerId="ADAL" clId="{589596F8-DEBB-4D6F-8716-DC3B8C328166}" dt="2019-04-24T22:18:50.022" v="1733" actId="20577"/>
          <ac:spMkLst>
            <pc:docMk/>
            <pc:sldMk cId="3550844832" sldId="283"/>
            <ac:spMk id="3" creationId="{33236595-CAC9-445D-9666-E8C18A3531A2}"/>
          </ac:spMkLst>
        </pc:spChg>
      </pc:sldChg>
      <pc:sldChg chg="addSp delSp modSp add mod setBg setClrOvrMap">
        <pc:chgData name="Asia Gandecka" userId="d4533edf-3129-4e97-a6db-54867d5d9a08" providerId="ADAL" clId="{589596F8-DEBB-4D6F-8716-DC3B8C328166}" dt="2019-04-24T21:25:51.391" v="521" actId="6549"/>
        <pc:sldMkLst>
          <pc:docMk/>
          <pc:sldMk cId="2332363192" sldId="285"/>
        </pc:sldMkLst>
        <pc:spChg chg="mod">
          <ac:chgData name="Asia Gandecka" userId="d4533edf-3129-4e97-a6db-54867d5d9a08" providerId="ADAL" clId="{589596F8-DEBB-4D6F-8716-DC3B8C328166}" dt="2019-04-24T21:25:51.391" v="521" actId="6549"/>
          <ac:spMkLst>
            <pc:docMk/>
            <pc:sldMk cId="2332363192" sldId="285"/>
            <ac:spMk id="2" creationId="{E3803497-8846-4D57-89F6-587D61324381}"/>
          </ac:spMkLst>
        </pc:spChg>
        <pc:spChg chg="del">
          <ac:chgData name="Asia Gandecka" userId="d4533edf-3129-4e97-a6db-54867d5d9a08" providerId="ADAL" clId="{589596F8-DEBB-4D6F-8716-DC3B8C328166}" dt="2019-04-24T21:12:42.600" v="351"/>
          <ac:spMkLst>
            <pc:docMk/>
            <pc:sldMk cId="2332363192" sldId="285"/>
            <ac:spMk id="3" creationId="{993F2559-7974-4EE2-BA17-728AEDE2FD98}"/>
          </ac:spMkLst>
        </pc:spChg>
        <pc:spChg chg="add del">
          <ac:chgData name="Asia Gandecka" userId="d4533edf-3129-4e97-a6db-54867d5d9a08" providerId="ADAL" clId="{589596F8-DEBB-4D6F-8716-DC3B8C328166}" dt="2019-04-24T21:13:00.340" v="353" actId="26606"/>
          <ac:spMkLst>
            <pc:docMk/>
            <pc:sldMk cId="2332363192" sldId="285"/>
            <ac:spMk id="7" creationId="{559AE206-7EBA-4D33-8BC9-9D8158553F0E}"/>
          </ac:spMkLst>
        </pc:spChg>
        <pc:spChg chg="add del">
          <ac:chgData name="Asia Gandecka" userId="d4533edf-3129-4e97-a6db-54867d5d9a08" providerId="ADAL" clId="{589596F8-DEBB-4D6F-8716-DC3B8C328166}" dt="2019-04-24T21:13:00.340" v="353" actId="26606"/>
          <ac:spMkLst>
            <pc:docMk/>
            <pc:sldMk cId="2332363192" sldId="285"/>
            <ac:spMk id="9" creationId="{6437D937-A7F1-4011-92B4-328E5BE1B166}"/>
          </ac:spMkLst>
        </pc:spChg>
        <pc:spChg chg="add del">
          <ac:chgData name="Asia Gandecka" userId="d4533edf-3129-4e97-a6db-54867d5d9a08" providerId="ADAL" clId="{589596F8-DEBB-4D6F-8716-DC3B8C328166}" dt="2019-04-24T21:13:00.340" v="353" actId="26606"/>
          <ac:spMkLst>
            <pc:docMk/>
            <pc:sldMk cId="2332363192" sldId="285"/>
            <ac:spMk id="11" creationId="{B672F332-AF08-46C6-94F0-77684310D7B7}"/>
          </ac:spMkLst>
        </pc:spChg>
        <pc:spChg chg="add del">
          <ac:chgData name="Asia Gandecka" userId="d4533edf-3129-4e97-a6db-54867d5d9a08" providerId="ADAL" clId="{589596F8-DEBB-4D6F-8716-DC3B8C328166}" dt="2019-04-24T21:13:00.340" v="353" actId="26606"/>
          <ac:spMkLst>
            <pc:docMk/>
            <pc:sldMk cId="2332363192" sldId="285"/>
            <ac:spMk id="13" creationId="{34244EF8-D73A-40E1-BE73-D46E6B4B04ED}"/>
          </ac:spMkLst>
        </pc:spChg>
        <pc:spChg chg="add del">
          <ac:chgData name="Asia Gandecka" userId="d4533edf-3129-4e97-a6db-54867d5d9a08" providerId="ADAL" clId="{589596F8-DEBB-4D6F-8716-DC3B8C328166}" dt="2019-04-24T21:13:00.340" v="353" actId="26606"/>
          <ac:spMkLst>
            <pc:docMk/>
            <pc:sldMk cId="2332363192" sldId="285"/>
            <ac:spMk id="15" creationId="{AB84D7E8-4ECB-42D7-ADBF-01689B0F24AE}"/>
          </ac:spMkLst>
        </pc:spChg>
        <pc:spChg chg="add del">
          <ac:chgData name="Asia Gandecka" userId="d4533edf-3129-4e97-a6db-54867d5d9a08" providerId="ADAL" clId="{589596F8-DEBB-4D6F-8716-DC3B8C328166}" dt="2019-04-24T21:13:17.875" v="355" actId="26606"/>
          <ac:spMkLst>
            <pc:docMk/>
            <pc:sldMk cId="2332363192" sldId="285"/>
            <ac:spMk id="29" creationId="{6BDBA639-2A71-4A60-A71A-FF1836F546CE}"/>
          </ac:spMkLst>
        </pc:spChg>
        <pc:spChg chg="add del">
          <ac:chgData name="Asia Gandecka" userId="d4533edf-3129-4e97-a6db-54867d5d9a08" providerId="ADAL" clId="{589596F8-DEBB-4D6F-8716-DC3B8C328166}" dt="2019-04-24T21:13:17.875" v="355" actId="26606"/>
          <ac:spMkLst>
            <pc:docMk/>
            <pc:sldMk cId="2332363192" sldId="285"/>
            <ac:spMk id="30" creationId="{D9C506D7-84CB-4057-A44A-465313E78538}"/>
          </ac:spMkLst>
        </pc:spChg>
        <pc:spChg chg="add del">
          <ac:chgData name="Asia Gandecka" userId="d4533edf-3129-4e97-a6db-54867d5d9a08" providerId="ADAL" clId="{589596F8-DEBB-4D6F-8716-DC3B8C328166}" dt="2019-04-24T21:13:17.875" v="355" actId="26606"/>
          <ac:spMkLst>
            <pc:docMk/>
            <pc:sldMk cId="2332363192" sldId="285"/>
            <ac:spMk id="32" creationId="{7842FC68-61FD-4700-8A22-BB8B071884DB}"/>
          </ac:spMkLst>
        </pc:spChg>
        <pc:spChg chg="add del">
          <ac:chgData name="Asia Gandecka" userId="d4533edf-3129-4e97-a6db-54867d5d9a08" providerId="ADAL" clId="{589596F8-DEBB-4D6F-8716-DC3B8C328166}" dt="2019-04-24T21:13:28.997" v="356" actId="26606"/>
          <ac:spMkLst>
            <pc:docMk/>
            <pc:sldMk cId="2332363192" sldId="285"/>
            <ac:spMk id="46" creationId="{053FB2EE-284F-4C87-AB3D-BBF87A9FAB97}"/>
          </ac:spMkLst>
        </pc:spChg>
        <pc:spChg chg="add">
          <ac:chgData name="Asia Gandecka" userId="d4533edf-3129-4e97-a6db-54867d5d9a08" providerId="ADAL" clId="{589596F8-DEBB-4D6F-8716-DC3B8C328166}" dt="2019-04-24T21:13:28.997" v="356" actId="26606"/>
          <ac:spMkLst>
            <pc:docMk/>
            <pc:sldMk cId="2332363192" sldId="285"/>
            <ac:spMk id="51" creationId="{C66F2F30-5DC0-44A0-BFA6-E12F46ED16DA}"/>
          </ac:spMkLst>
        </pc:spChg>
        <pc:spChg chg="add">
          <ac:chgData name="Asia Gandecka" userId="d4533edf-3129-4e97-a6db-54867d5d9a08" providerId="ADAL" clId="{589596F8-DEBB-4D6F-8716-DC3B8C328166}" dt="2019-04-24T21:13:28.997" v="356" actId="26606"/>
          <ac:spMkLst>
            <pc:docMk/>
            <pc:sldMk cId="2332363192" sldId="285"/>
            <ac:spMk id="53" creationId="{85872F57-7F42-4F97-8391-DDC8D0054C03}"/>
          </ac:spMkLst>
        </pc:spChg>
        <pc:spChg chg="add">
          <ac:chgData name="Asia Gandecka" userId="d4533edf-3129-4e97-a6db-54867d5d9a08" providerId="ADAL" clId="{589596F8-DEBB-4D6F-8716-DC3B8C328166}" dt="2019-04-24T21:13:28.997" v="356" actId="26606"/>
          <ac:spMkLst>
            <pc:docMk/>
            <pc:sldMk cId="2332363192" sldId="285"/>
            <ac:spMk id="55" creationId="{04DC2037-48A0-4F22-B9D4-8EAEBC780AB4}"/>
          </ac:spMkLst>
        </pc:spChg>
        <pc:spChg chg="add">
          <ac:chgData name="Asia Gandecka" userId="d4533edf-3129-4e97-a6db-54867d5d9a08" providerId="ADAL" clId="{589596F8-DEBB-4D6F-8716-DC3B8C328166}" dt="2019-04-24T21:13:28.997" v="356" actId="26606"/>
          <ac:spMkLst>
            <pc:docMk/>
            <pc:sldMk cId="2332363192" sldId="285"/>
            <ac:spMk id="57" creationId="{0006CBFD-ADA0-43D1-9332-9C34CA1C76ED}"/>
          </ac:spMkLst>
        </pc:spChg>
        <pc:spChg chg="add">
          <ac:chgData name="Asia Gandecka" userId="d4533edf-3129-4e97-a6db-54867d5d9a08" providerId="ADAL" clId="{589596F8-DEBB-4D6F-8716-DC3B8C328166}" dt="2019-04-24T21:13:28.997" v="356" actId="26606"/>
          <ac:spMkLst>
            <pc:docMk/>
            <pc:sldMk cId="2332363192" sldId="285"/>
            <ac:spMk id="59" creationId="{2B931666-F28F-45F3-A074-66D2272D580B}"/>
          </ac:spMkLst>
        </pc:spChg>
        <pc:grpChg chg="add del">
          <ac:chgData name="Asia Gandecka" userId="d4533edf-3129-4e97-a6db-54867d5d9a08" providerId="ADAL" clId="{589596F8-DEBB-4D6F-8716-DC3B8C328166}" dt="2019-04-24T21:13:17.875" v="355" actId="26606"/>
          <ac:grpSpMkLst>
            <pc:docMk/>
            <pc:sldMk cId="2332363192" sldId="285"/>
            <ac:grpSpMk id="31" creationId="{5E208A8B-5EBD-4532-BE72-26414FA7CFF6}"/>
          </ac:grpSpMkLst>
        </pc:grpChg>
        <pc:grpChg chg="add del">
          <ac:chgData name="Asia Gandecka" userId="d4533edf-3129-4e97-a6db-54867d5d9a08" providerId="ADAL" clId="{589596F8-DEBB-4D6F-8716-DC3B8C328166}" dt="2019-04-24T21:13:28.997" v="356" actId="26606"/>
          <ac:grpSpMkLst>
            <pc:docMk/>
            <pc:sldMk cId="2332363192" sldId="285"/>
            <ac:grpSpMk id="41" creationId="{D2C4BFA1-2075-4901-9E24-E41D1FDD51FD}"/>
          </ac:grpSpMkLst>
        </pc:grpChg>
        <pc:cxnChg chg="add del">
          <ac:chgData name="Asia Gandecka" userId="d4533edf-3129-4e97-a6db-54867d5d9a08" providerId="ADAL" clId="{589596F8-DEBB-4D6F-8716-DC3B8C328166}" dt="2019-04-24T21:13:00.340" v="353" actId="26606"/>
          <ac:cxnSpMkLst>
            <pc:docMk/>
            <pc:sldMk cId="2332363192" sldId="285"/>
            <ac:cxnSpMk id="17" creationId="{9E8E38ED-369A-44C2-B635-0BED0E48A6E8}"/>
          </ac:cxnSpMkLst>
        </pc:cxnChg>
      </pc:sldChg>
      <pc:sldChg chg="addSp delSp modSp add">
        <pc:chgData name="Asia Gandecka" userId="d4533edf-3129-4e97-a6db-54867d5d9a08" providerId="ADAL" clId="{589596F8-DEBB-4D6F-8716-DC3B8C328166}" dt="2019-04-24T02:14:57.565" v="122" actId="403"/>
        <pc:sldMkLst>
          <pc:docMk/>
          <pc:sldMk cId="2707495431" sldId="307"/>
        </pc:sldMkLst>
        <pc:spChg chg="add del mod">
          <ac:chgData name="Asia Gandecka" userId="d4533edf-3129-4e97-a6db-54867d5d9a08" providerId="ADAL" clId="{589596F8-DEBB-4D6F-8716-DC3B8C328166}" dt="2019-04-24T02:01:36.132" v="44" actId="478"/>
          <ac:spMkLst>
            <pc:docMk/>
            <pc:sldMk cId="2707495431" sldId="307"/>
            <ac:spMk id="2" creationId="{835CB957-D463-4E42-AB4E-CE8BD27141AD}"/>
          </ac:spMkLst>
        </pc:spChg>
        <pc:spChg chg="add del mod">
          <ac:chgData name="Asia Gandecka" userId="d4533edf-3129-4e97-a6db-54867d5d9a08" providerId="ADAL" clId="{589596F8-DEBB-4D6F-8716-DC3B8C328166}" dt="2019-04-24T02:14:43.053" v="120" actId="478"/>
          <ac:spMkLst>
            <pc:docMk/>
            <pc:sldMk cId="2707495431" sldId="307"/>
            <ac:spMk id="7" creationId="{7B5BF4EE-B58F-4C9D-A98C-219163008265}"/>
          </ac:spMkLst>
        </pc:spChg>
        <pc:spChg chg="mod">
          <ac:chgData name="Asia Gandecka" userId="d4533edf-3129-4e97-a6db-54867d5d9a08" providerId="ADAL" clId="{589596F8-DEBB-4D6F-8716-DC3B8C328166}" dt="2019-04-24T02:14:57.565" v="122" actId="403"/>
          <ac:spMkLst>
            <pc:docMk/>
            <pc:sldMk cId="2707495431" sldId="307"/>
            <ac:spMk id="17" creationId="{977E58EE-870A-41BD-84B1-6CB592992463}"/>
          </ac:spMkLst>
        </pc:spChg>
      </pc:sldChg>
      <pc:sldChg chg="addSp delSp modSp add modTransition">
        <pc:chgData name="Asia Gandecka" userId="d4533edf-3129-4e97-a6db-54867d5d9a08" providerId="ADAL" clId="{589596F8-DEBB-4D6F-8716-DC3B8C328166}" dt="2019-04-24T21:24:25.382" v="465" actId="1035"/>
        <pc:sldMkLst>
          <pc:docMk/>
          <pc:sldMk cId="2310307256" sldId="355"/>
        </pc:sldMkLst>
        <pc:spChg chg="add mod">
          <ac:chgData name="Asia Gandecka" userId="d4533edf-3129-4e97-a6db-54867d5d9a08" providerId="ADAL" clId="{589596F8-DEBB-4D6F-8716-DC3B8C328166}" dt="2019-04-24T21:09:01.086" v="331" actId="20577"/>
          <ac:spMkLst>
            <pc:docMk/>
            <pc:sldMk cId="2310307256" sldId="355"/>
            <ac:spMk id="2" creationId="{397773D6-C87F-458F-A31A-A80110C62403}"/>
          </ac:spMkLst>
        </pc:spChg>
        <pc:spChg chg="add del mod">
          <ac:chgData name="Asia Gandecka" userId="d4533edf-3129-4e97-a6db-54867d5d9a08" providerId="ADAL" clId="{589596F8-DEBB-4D6F-8716-DC3B8C328166}" dt="2019-04-24T21:08:53.351" v="317" actId="478"/>
          <ac:spMkLst>
            <pc:docMk/>
            <pc:sldMk cId="2310307256" sldId="355"/>
            <ac:spMk id="3" creationId="{755D0C52-F5CF-4FF2-9069-363C2A04D521}"/>
          </ac:spMkLst>
        </pc:spChg>
        <pc:spChg chg="mod">
          <ac:chgData name="Asia Gandecka" userId="d4533edf-3129-4e97-a6db-54867d5d9a08" providerId="ADAL" clId="{589596F8-DEBB-4D6F-8716-DC3B8C328166}" dt="2019-04-24T21:22:49.880" v="431" actId="403"/>
          <ac:spMkLst>
            <pc:docMk/>
            <pc:sldMk cId="2310307256" sldId="355"/>
            <ac:spMk id="6" creationId="{00000000-0000-0000-0000-000000000000}"/>
          </ac:spMkLst>
        </pc:spChg>
        <pc:spChg chg="mod">
          <ac:chgData name="Asia Gandecka" userId="d4533edf-3129-4e97-a6db-54867d5d9a08" providerId="ADAL" clId="{589596F8-DEBB-4D6F-8716-DC3B8C328166}" dt="2019-04-24T21:23:02.834" v="440" actId="403"/>
          <ac:spMkLst>
            <pc:docMk/>
            <pc:sldMk cId="2310307256" sldId="355"/>
            <ac:spMk id="17" creationId="{00000000-0000-0000-0000-000000000000}"/>
          </ac:spMkLst>
        </pc:spChg>
        <pc:spChg chg="mod">
          <ac:chgData name="Asia Gandecka" userId="d4533edf-3129-4e97-a6db-54867d5d9a08" providerId="ADAL" clId="{589596F8-DEBB-4D6F-8716-DC3B8C328166}" dt="2019-04-24T21:23:27.510" v="447" actId="1076"/>
          <ac:spMkLst>
            <pc:docMk/>
            <pc:sldMk cId="2310307256" sldId="355"/>
            <ac:spMk id="20" creationId="{00000000-0000-0000-0000-000000000000}"/>
          </ac:spMkLst>
        </pc:spChg>
        <pc:spChg chg="mod">
          <ac:chgData name="Asia Gandecka" userId="d4533edf-3129-4e97-a6db-54867d5d9a08" providerId="ADAL" clId="{589596F8-DEBB-4D6F-8716-DC3B8C328166}" dt="2019-04-24T21:23:41.398" v="449" actId="1035"/>
          <ac:spMkLst>
            <pc:docMk/>
            <pc:sldMk cId="2310307256" sldId="355"/>
            <ac:spMk id="21" creationId="{00000000-0000-0000-0000-000000000000}"/>
          </ac:spMkLst>
        </pc:spChg>
        <pc:spChg chg="mod">
          <ac:chgData name="Asia Gandecka" userId="d4533edf-3129-4e97-a6db-54867d5d9a08" providerId="ADAL" clId="{589596F8-DEBB-4D6F-8716-DC3B8C328166}" dt="2019-04-24T21:22:43.953" v="428" actId="403"/>
          <ac:spMkLst>
            <pc:docMk/>
            <pc:sldMk cId="2310307256" sldId="355"/>
            <ac:spMk id="23" creationId="{00000000-0000-0000-0000-000000000000}"/>
          </ac:spMkLst>
        </pc:spChg>
        <pc:spChg chg="mod">
          <ac:chgData name="Asia Gandecka" userId="d4533edf-3129-4e97-a6db-54867d5d9a08" providerId="ADAL" clId="{589596F8-DEBB-4D6F-8716-DC3B8C328166}" dt="2019-04-24T21:22:54.322" v="434" actId="403"/>
          <ac:spMkLst>
            <pc:docMk/>
            <pc:sldMk cId="2310307256" sldId="355"/>
            <ac:spMk id="26" creationId="{00000000-0000-0000-0000-000000000000}"/>
          </ac:spMkLst>
        </pc:spChg>
        <pc:spChg chg="del">
          <ac:chgData name="Asia Gandecka" userId="d4533edf-3129-4e97-a6db-54867d5d9a08" providerId="ADAL" clId="{589596F8-DEBB-4D6F-8716-DC3B8C328166}" dt="2019-04-24T21:09:06.402" v="332" actId="478"/>
          <ac:spMkLst>
            <pc:docMk/>
            <pc:sldMk cId="2310307256" sldId="355"/>
            <ac:spMk id="28" creationId="{00000000-0000-0000-0000-000000000000}"/>
          </ac:spMkLst>
        </pc:spChg>
        <pc:grpChg chg="mod">
          <ac:chgData name="Asia Gandecka" userId="d4533edf-3129-4e97-a6db-54867d5d9a08" providerId="ADAL" clId="{589596F8-DEBB-4D6F-8716-DC3B8C328166}" dt="2019-04-24T21:24:25.382" v="465" actId="1035"/>
          <ac:grpSpMkLst>
            <pc:docMk/>
            <pc:sldMk cId="2310307256" sldId="355"/>
            <ac:grpSpMk id="5" creationId="{00000000-0000-0000-0000-000000000000}"/>
          </ac:grpSpMkLst>
        </pc:grpChg>
        <pc:grpChg chg="mod">
          <ac:chgData name="Asia Gandecka" userId="d4533edf-3129-4e97-a6db-54867d5d9a08" providerId="ADAL" clId="{589596F8-DEBB-4D6F-8716-DC3B8C328166}" dt="2019-04-24T21:24:06.285" v="458" actId="1035"/>
          <ac:grpSpMkLst>
            <pc:docMk/>
            <pc:sldMk cId="2310307256" sldId="355"/>
            <ac:grpSpMk id="16" creationId="{00000000-0000-0000-0000-000000000000}"/>
          </ac:grpSpMkLst>
        </pc:grpChg>
        <pc:grpChg chg="mod">
          <ac:chgData name="Asia Gandecka" userId="d4533edf-3129-4e97-a6db-54867d5d9a08" providerId="ADAL" clId="{589596F8-DEBB-4D6F-8716-DC3B8C328166}" dt="2019-04-24T21:23:58.432" v="454" actId="1035"/>
          <ac:grpSpMkLst>
            <pc:docMk/>
            <pc:sldMk cId="2310307256" sldId="355"/>
            <ac:grpSpMk id="19" creationId="{00000000-0000-0000-0000-000000000000}"/>
          </ac:grpSpMkLst>
        </pc:grpChg>
        <pc:grpChg chg="mod">
          <ac:chgData name="Asia Gandecka" userId="d4533edf-3129-4e97-a6db-54867d5d9a08" providerId="ADAL" clId="{589596F8-DEBB-4D6F-8716-DC3B8C328166}" dt="2019-04-24T21:24:13.614" v="461" actId="1035"/>
          <ac:grpSpMkLst>
            <pc:docMk/>
            <pc:sldMk cId="2310307256" sldId="355"/>
            <ac:grpSpMk id="22" creationId="{00000000-0000-0000-0000-000000000000}"/>
          </ac:grpSpMkLst>
        </pc:grpChg>
        <pc:grpChg chg="mod">
          <ac:chgData name="Asia Gandecka" userId="d4533edf-3129-4e97-a6db-54867d5d9a08" providerId="ADAL" clId="{589596F8-DEBB-4D6F-8716-DC3B8C328166}" dt="2019-04-24T21:23:46.807" v="451" actId="1076"/>
          <ac:grpSpMkLst>
            <pc:docMk/>
            <pc:sldMk cId="2310307256" sldId="355"/>
            <ac:grpSpMk id="25" creationId="{00000000-0000-0000-0000-000000000000}"/>
          </ac:grpSpMkLst>
        </pc:grpChg>
      </pc:sldChg>
      <pc:sldChg chg="addSp delSp modSp add">
        <pc:chgData name="Asia Gandecka" userId="d4533edf-3129-4e97-a6db-54867d5d9a08" providerId="ADAL" clId="{589596F8-DEBB-4D6F-8716-DC3B8C328166}" dt="2019-04-24T21:21:26.225" v="419"/>
        <pc:sldMkLst>
          <pc:docMk/>
          <pc:sldMk cId="3525975785" sldId="382"/>
        </pc:sldMkLst>
        <pc:spChg chg="add del mod">
          <ac:chgData name="Asia Gandecka" userId="d4533edf-3129-4e97-a6db-54867d5d9a08" providerId="ADAL" clId="{589596F8-DEBB-4D6F-8716-DC3B8C328166}" dt="2019-04-24T21:21:26.225" v="419"/>
          <ac:spMkLst>
            <pc:docMk/>
            <pc:sldMk cId="3525975785" sldId="382"/>
            <ac:spMk id="3" creationId="{96D2062E-525E-4811-8E74-0FC90579E036}"/>
          </ac:spMkLst>
        </pc:spChg>
        <pc:spChg chg="add del mod">
          <ac:chgData name="Asia Gandecka" userId="d4533edf-3129-4e97-a6db-54867d5d9a08" providerId="ADAL" clId="{589596F8-DEBB-4D6F-8716-DC3B8C328166}" dt="2019-04-24T21:21:26.225" v="419"/>
          <ac:spMkLst>
            <pc:docMk/>
            <pc:sldMk cId="3525975785" sldId="382"/>
            <ac:spMk id="5" creationId="{DF4781A3-18C0-47DC-9C1C-41B17A9CC888}"/>
          </ac:spMkLst>
        </pc:spChg>
        <pc:spChg chg="add mod">
          <ac:chgData name="Asia Gandecka" userId="d4533edf-3129-4e97-a6db-54867d5d9a08" providerId="ADAL" clId="{589596F8-DEBB-4D6F-8716-DC3B8C328166}" dt="2019-04-24T21:21:26.225" v="419"/>
          <ac:spMkLst>
            <pc:docMk/>
            <pc:sldMk cId="3525975785" sldId="382"/>
            <ac:spMk id="9" creationId="{BCAECFBF-C75F-4442-B75C-B521621A1D7B}"/>
          </ac:spMkLst>
        </pc:spChg>
      </pc:sldChg>
      <pc:sldChg chg="addSp delSp modSp add ord modTransition">
        <pc:chgData name="Asia Gandecka" userId="d4533edf-3129-4e97-a6db-54867d5d9a08" providerId="ADAL" clId="{589596F8-DEBB-4D6F-8716-DC3B8C328166}" dt="2019-04-24T21:13:51.325" v="359"/>
        <pc:sldMkLst>
          <pc:docMk/>
          <pc:sldMk cId="2750993272" sldId="399"/>
        </pc:sldMkLst>
        <pc:spChg chg="mod">
          <ac:chgData name="Asia Gandecka" userId="d4533edf-3129-4e97-a6db-54867d5d9a08" providerId="ADAL" clId="{589596F8-DEBB-4D6F-8716-DC3B8C328166}" dt="2019-04-24T02:18:49.998" v="162" actId="14100"/>
          <ac:spMkLst>
            <pc:docMk/>
            <pc:sldMk cId="2750993272" sldId="399"/>
            <ac:spMk id="2" creationId="{00000000-0000-0000-0000-000000000000}"/>
          </ac:spMkLst>
        </pc:spChg>
        <pc:spChg chg="add del mod">
          <ac:chgData name="Asia Gandecka" userId="d4533edf-3129-4e97-a6db-54867d5d9a08" providerId="ADAL" clId="{589596F8-DEBB-4D6F-8716-DC3B8C328166}" dt="2019-04-24T02:18:13.316" v="150"/>
          <ac:spMkLst>
            <pc:docMk/>
            <pc:sldMk cId="2750993272" sldId="399"/>
            <ac:spMk id="3" creationId="{95563974-8022-4BCE-82B3-928834C73095}"/>
          </ac:spMkLst>
        </pc:spChg>
        <pc:spChg chg="add del mod">
          <ac:chgData name="Asia Gandecka" userId="d4533edf-3129-4e97-a6db-54867d5d9a08" providerId="ADAL" clId="{589596F8-DEBB-4D6F-8716-DC3B8C328166}" dt="2019-04-24T02:18:13.316" v="150"/>
          <ac:spMkLst>
            <pc:docMk/>
            <pc:sldMk cId="2750993272" sldId="399"/>
            <ac:spMk id="5" creationId="{545FB496-BA22-415E-B371-1F157B35F514}"/>
          </ac:spMkLst>
        </pc:spChg>
        <pc:spChg chg="del mod">
          <ac:chgData name="Asia Gandecka" userId="d4533edf-3129-4e97-a6db-54867d5d9a08" providerId="ADAL" clId="{589596F8-DEBB-4D6F-8716-DC3B8C328166}" dt="2019-04-24T02:18:18.254" v="152" actId="478"/>
          <ac:spMkLst>
            <pc:docMk/>
            <pc:sldMk cId="2750993272" sldId="399"/>
            <ac:spMk id="6" creationId="{DBE1751E-DA8E-4B7B-8249-3AD0336A8D49}"/>
          </ac:spMkLst>
        </pc:spChg>
        <pc:spChg chg="add del mod">
          <ac:chgData name="Asia Gandecka" userId="d4533edf-3129-4e97-a6db-54867d5d9a08" providerId="ADAL" clId="{589596F8-DEBB-4D6F-8716-DC3B8C328166}" dt="2019-04-24T02:18:15.975" v="151" actId="478"/>
          <ac:spMkLst>
            <pc:docMk/>
            <pc:sldMk cId="2750993272" sldId="399"/>
            <ac:spMk id="7" creationId="{6C3D9139-8C9B-417B-9CD8-F8A3B6C5280A}"/>
          </ac:spMkLst>
        </pc:spChg>
        <pc:spChg chg="add del mod">
          <ac:chgData name="Asia Gandecka" userId="d4533edf-3129-4e97-a6db-54867d5d9a08" providerId="ADAL" clId="{589596F8-DEBB-4D6F-8716-DC3B8C328166}" dt="2019-04-24T02:18:19.444" v="153"/>
          <ac:spMkLst>
            <pc:docMk/>
            <pc:sldMk cId="2750993272" sldId="399"/>
            <ac:spMk id="8" creationId="{BDF51953-B50C-40FA-B41B-B900A1ABE03F}"/>
          </ac:spMkLst>
        </pc:spChg>
        <pc:spChg chg="add mod">
          <ac:chgData name="Asia Gandecka" userId="d4533edf-3129-4e97-a6db-54867d5d9a08" providerId="ADAL" clId="{589596F8-DEBB-4D6F-8716-DC3B8C328166}" dt="2019-04-24T02:18:22.039" v="154"/>
          <ac:spMkLst>
            <pc:docMk/>
            <pc:sldMk cId="2750993272" sldId="399"/>
            <ac:spMk id="9" creationId="{CFA559AD-4C6A-43CC-BEFA-3713581D3866}"/>
          </ac:spMkLst>
        </pc:spChg>
        <pc:spChg chg="add del mod">
          <ac:chgData name="Asia Gandecka" userId="d4533edf-3129-4e97-a6db-54867d5d9a08" providerId="ADAL" clId="{589596F8-DEBB-4D6F-8716-DC3B8C328166}" dt="2019-04-24T02:18:23.576" v="155"/>
          <ac:spMkLst>
            <pc:docMk/>
            <pc:sldMk cId="2750993272" sldId="399"/>
            <ac:spMk id="10" creationId="{EAF65E13-650D-4F93-A864-491A063EB982}"/>
          </ac:spMkLst>
        </pc:spChg>
        <pc:spChg chg="add del mod">
          <ac:chgData name="Asia Gandecka" userId="d4533edf-3129-4e97-a6db-54867d5d9a08" providerId="ADAL" clId="{589596F8-DEBB-4D6F-8716-DC3B8C328166}" dt="2019-04-24T02:18:23.576" v="155"/>
          <ac:spMkLst>
            <pc:docMk/>
            <pc:sldMk cId="2750993272" sldId="399"/>
            <ac:spMk id="11" creationId="{FE5D9255-51FE-4DE2-B740-7C2DB6DA482E}"/>
          </ac:spMkLst>
        </pc:spChg>
        <pc:picChg chg="mod">
          <ac:chgData name="Asia Gandecka" userId="d4533edf-3129-4e97-a6db-54867d5d9a08" providerId="ADAL" clId="{589596F8-DEBB-4D6F-8716-DC3B8C328166}" dt="2019-04-24T02:18:52.368" v="163" actId="1076"/>
          <ac:picMkLst>
            <pc:docMk/>
            <pc:sldMk cId="2750993272" sldId="399"/>
            <ac:picMk id="4" creationId="{00000000-0000-0000-0000-000000000000}"/>
          </ac:picMkLst>
        </pc:picChg>
      </pc:sldChg>
      <pc:sldChg chg="addSp delSp modSp add del ord">
        <pc:chgData name="Asia Gandecka" userId="d4533edf-3129-4e97-a6db-54867d5d9a08" providerId="ADAL" clId="{589596F8-DEBB-4D6F-8716-DC3B8C328166}" dt="2019-04-24T21:18:30.557" v="398"/>
        <pc:sldMkLst>
          <pc:docMk/>
          <pc:sldMk cId="3716265243" sldId="1966"/>
        </pc:sldMkLst>
        <pc:spChg chg="add mod">
          <ac:chgData name="Asia Gandecka" userId="d4533edf-3129-4e97-a6db-54867d5d9a08" providerId="ADAL" clId="{589596F8-DEBB-4D6F-8716-DC3B8C328166}" dt="2019-04-24T21:17:50.053" v="393" actId="20577"/>
          <ac:spMkLst>
            <pc:docMk/>
            <pc:sldMk cId="3716265243" sldId="1966"/>
            <ac:spMk id="2" creationId="{C962C15F-95E3-481D-A0CF-AE6555E28DA2}"/>
          </ac:spMkLst>
        </pc:spChg>
        <pc:spChg chg="add del mod">
          <ac:chgData name="Asia Gandecka" userId="d4533edf-3129-4e97-a6db-54867d5d9a08" providerId="ADAL" clId="{589596F8-DEBB-4D6F-8716-DC3B8C328166}" dt="2019-04-24T02:19:14.529" v="168" actId="478"/>
          <ac:spMkLst>
            <pc:docMk/>
            <pc:sldMk cId="3716265243" sldId="1966"/>
            <ac:spMk id="3" creationId="{771A2180-4B8C-46C0-B6CA-E003299E3976}"/>
          </ac:spMkLst>
        </pc:spChg>
        <pc:spChg chg="add del mod">
          <ac:chgData name="Asia Gandecka" userId="d4533edf-3129-4e97-a6db-54867d5d9a08" providerId="ADAL" clId="{589596F8-DEBB-4D6F-8716-DC3B8C328166}" dt="2019-04-24T02:19:21.146" v="170"/>
          <ac:spMkLst>
            <pc:docMk/>
            <pc:sldMk cId="3716265243" sldId="1966"/>
            <ac:spMk id="4" creationId="{506960D1-5AA8-4669-AEC0-2304B5C198F2}"/>
          </ac:spMkLst>
        </pc:spChg>
        <pc:spChg chg="add mod">
          <ac:chgData name="Asia Gandecka" userId="d4533edf-3129-4e97-a6db-54867d5d9a08" providerId="ADAL" clId="{589596F8-DEBB-4D6F-8716-DC3B8C328166}" dt="2019-04-24T21:18:01.507" v="396" actId="403"/>
          <ac:spMkLst>
            <pc:docMk/>
            <pc:sldMk cId="3716265243" sldId="1966"/>
            <ac:spMk id="5" creationId="{85009BE3-B1BD-4BF5-A2F8-829617D42196}"/>
          </ac:spMkLst>
        </pc:spChg>
        <pc:spChg chg="del mod">
          <ac:chgData name="Asia Gandecka" userId="d4533edf-3129-4e97-a6db-54867d5d9a08" providerId="ADAL" clId="{589596F8-DEBB-4D6F-8716-DC3B8C328166}" dt="2019-04-24T02:19:03.707" v="165" actId="478"/>
          <ac:spMkLst>
            <pc:docMk/>
            <pc:sldMk cId="3716265243" sldId="1966"/>
            <ac:spMk id="6" creationId="{DBE1751E-DA8E-4B7B-8249-3AD0336A8D49}"/>
          </ac:spMkLst>
        </pc:spChg>
        <pc:spChg chg="del mod">
          <ac:chgData name="Asia Gandecka" userId="d4533edf-3129-4e97-a6db-54867d5d9a08" providerId="ADAL" clId="{589596F8-DEBB-4D6F-8716-DC3B8C328166}" dt="2019-04-24T02:19:24.344" v="171" actId="478"/>
          <ac:spMkLst>
            <pc:docMk/>
            <pc:sldMk cId="3716265243" sldId="1966"/>
            <ac:spMk id="7" creationId="{5744B165-0378-4740-BC35-9A111F36CCE1}"/>
          </ac:spMkLst>
        </pc:spChg>
      </pc:sldChg>
      <pc:sldChg chg="addSp delSp modSp add ord">
        <pc:chgData name="Asia Gandecka" userId="d4533edf-3129-4e97-a6db-54867d5d9a08" providerId="ADAL" clId="{589596F8-DEBB-4D6F-8716-DC3B8C328166}" dt="2019-04-24T21:18:27.231" v="397"/>
        <pc:sldMkLst>
          <pc:docMk/>
          <pc:sldMk cId="12318851" sldId="1967"/>
        </pc:sldMkLst>
        <pc:spChg chg="add mod">
          <ac:chgData name="Asia Gandecka" userId="d4533edf-3129-4e97-a6db-54867d5d9a08" providerId="ADAL" clId="{589596F8-DEBB-4D6F-8716-DC3B8C328166}" dt="2019-04-24T02:19:50.676" v="178"/>
          <ac:spMkLst>
            <pc:docMk/>
            <pc:sldMk cId="12318851" sldId="1967"/>
            <ac:spMk id="2" creationId="{4CFEDFCF-D6E0-4C86-94E6-A5411E3F1AF5}"/>
          </ac:spMkLst>
        </pc:spChg>
        <pc:spChg chg="del mod">
          <ac:chgData name="Asia Gandecka" userId="d4533edf-3129-4e97-a6db-54867d5d9a08" providerId="ADAL" clId="{589596F8-DEBB-4D6F-8716-DC3B8C328166}" dt="2019-04-24T02:19:52.201" v="179"/>
          <ac:spMkLst>
            <pc:docMk/>
            <pc:sldMk cId="12318851" sldId="1967"/>
            <ac:spMk id="3" creationId="{29F901A6-07D7-4455-959E-35D7640D1683}"/>
          </ac:spMkLst>
        </pc:spChg>
        <pc:spChg chg="add del mod">
          <ac:chgData name="Asia Gandecka" userId="d4533edf-3129-4e97-a6db-54867d5d9a08" providerId="ADAL" clId="{589596F8-DEBB-4D6F-8716-DC3B8C328166}" dt="2019-04-24T02:19:52.201" v="179"/>
          <ac:spMkLst>
            <pc:docMk/>
            <pc:sldMk cId="12318851" sldId="1967"/>
            <ac:spMk id="4" creationId="{6E4C48EA-5CC8-405A-AFA9-9C3B7A813B60}"/>
          </ac:spMkLst>
        </pc:spChg>
        <pc:spChg chg="add del mod">
          <ac:chgData name="Asia Gandecka" userId="d4533edf-3129-4e97-a6db-54867d5d9a08" providerId="ADAL" clId="{589596F8-DEBB-4D6F-8716-DC3B8C328166}" dt="2019-04-24T02:19:56.042" v="180" actId="478"/>
          <ac:spMkLst>
            <pc:docMk/>
            <pc:sldMk cId="12318851" sldId="1967"/>
            <ac:spMk id="7" creationId="{AEF66368-9331-4DC7-A486-654E6333FBC2}"/>
          </ac:spMkLst>
        </pc:spChg>
      </pc:sldChg>
      <pc:sldChg chg="addSp delSp modSp add del ord modTransition setBg">
        <pc:chgData name="Asia Gandecka" userId="d4533edf-3129-4e97-a6db-54867d5d9a08" providerId="ADAL" clId="{589596F8-DEBB-4D6F-8716-DC3B8C328166}" dt="2019-04-24T21:27:02.316" v="574"/>
        <pc:sldMkLst>
          <pc:docMk/>
          <pc:sldMk cId="2363988451" sldId="1975"/>
        </pc:sldMkLst>
        <pc:spChg chg="del mod">
          <ac:chgData name="Asia Gandecka" userId="d4533edf-3129-4e97-a6db-54867d5d9a08" providerId="ADAL" clId="{589596F8-DEBB-4D6F-8716-DC3B8C328166}" dt="2019-04-24T02:03:04.896" v="64"/>
          <ac:spMkLst>
            <pc:docMk/>
            <pc:sldMk cId="2363988451" sldId="1975"/>
            <ac:spMk id="2" creationId="{D9534BC7-05AD-4B7D-A985-8EB1750A4BB2}"/>
          </ac:spMkLst>
        </pc:spChg>
        <pc:spChg chg="del mod">
          <ac:chgData name="Asia Gandecka" userId="d4533edf-3129-4e97-a6db-54867d5d9a08" providerId="ADAL" clId="{589596F8-DEBB-4D6F-8716-DC3B8C328166}" dt="2019-04-24T02:03:15.021" v="66" actId="478"/>
          <ac:spMkLst>
            <pc:docMk/>
            <pc:sldMk cId="2363988451" sldId="1975"/>
            <ac:spMk id="3" creationId="{8D517C9B-99CA-4197-8DF8-EC9F6BC52B31}"/>
          </ac:spMkLst>
        </pc:spChg>
        <pc:spChg chg="add mod">
          <ac:chgData name="Asia Gandecka" userId="d4533edf-3129-4e97-a6db-54867d5d9a08" providerId="ADAL" clId="{589596F8-DEBB-4D6F-8716-DC3B8C328166}" dt="2019-04-24T02:02:58.989" v="63" actId="20577"/>
          <ac:spMkLst>
            <pc:docMk/>
            <pc:sldMk cId="2363988451" sldId="1975"/>
            <ac:spMk id="4" creationId="{CFC532B9-1692-43B5-938B-BB438AC5343F}"/>
          </ac:spMkLst>
        </pc:spChg>
        <pc:spChg chg="add mod">
          <ac:chgData name="Asia Gandecka" userId="d4533edf-3129-4e97-a6db-54867d5d9a08" providerId="ADAL" clId="{589596F8-DEBB-4D6F-8716-DC3B8C328166}" dt="2019-04-24T02:03:26.027" v="70" actId="6549"/>
          <ac:spMkLst>
            <pc:docMk/>
            <pc:sldMk cId="2363988451" sldId="1975"/>
            <ac:spMk id="5" creationId="{E6DD22F5-FCD1-4626-9B8E-858520FA2A89}"/>
          </ac:spMkLst>
        </pc:spChg>
      </pc:sldChg>
      <pc:sldChg chg="addSp delSp modSp add modNotes modNotesTx">
        <pc:chgData name="Asia Gandecka" userId="d4533edf-3129-4e97-a6db-54867d5d9a08" providerId="ADAL" clId="{589596F8-DEBB-4D6F-8716-DC3B8C328166}" dt="2019-04-24T22:18:01.761" v="1715"/>
        <pc:sldMkLst>
          <pc:docMk/>
          <pc:sldMk cId="1831265177" sldId="1990"/>
        </pc:sldMkLst>
        <pc:spChg chg="mod">
          <ac:chgData name="Asia Gandecka" userId="d4533edf-3129-4e97-a6db-54867d5d9a08" providerId="ADAL" clId="{589596F8-DEBB-4D6F-8716-DC3B8C328166}" dt="2019-04-24T22:11:53.990" v="1469" actId="313"/>
          <ac:spMkLst>
            <pc:docMk/>
            <pc:sldMk cId="1831265177" sldId="1990"/>
            <ac:spMk id="2" creationId="{00000000-0000-0000-0000-000000000000}"/>
          </ac:spMkLst>
        </pc:spChg>
        <pc:spChg chg="mod">
          <ac:chgData name="Asia Gandecka" userId="d4533edf-3129-4e97-a6db-54867d5d9a08" providerId="ADAL" clId="{589596F8-DEBB-4D6F-8716-DC3B8C328166}" dt="2019-04-24T22:18:01.761" v="1715"/>
          <ac:spMkLst>
            <pc:docMk/>
            <pc:sldMk cId="1831265177" sldId="1990"/>
            <ac:spMk id="3" creationId="{00000000-0000-0000-0000-000000000000}"/>
          </ac:spMkLst>
        </pc:spChg>
        <pc:spChg chg="add del mod">
          <ac:chgData name="Asia Gandecka" userId="d4533edf-3129-4e97-a6db-54867d5d9a08" providerId="ADAL" clId="{589596F8-DEBB-4D6F-8716-DC3B8C328166}" dt="2019-04-24T22:12:56.046" v="1521"/>
          <ac:spMkLst>
            <pc:docMk/>
            <pc:sldMk cId="1831265177" sldId="1990"/>
            <ac:spMk id="4" creationId="{9A9BC6C5-4F6B-48AD-90F1-778B4FC79B2B}"/>
          </ac:spMkLst>
        </pc:spChg>
        <pc:spChg chg="add del mod">
          <ac:chgData name="Asia Gandecka" userId="d4533edf-3129-4e97-a6db-54867d5d9a08" providerId="ADAL" clId="{589596F8-DEBB-4D6F-8716-DC3B8C328166}" dt="2019-04-24T22:12:56.046" v="1521"/>
          <ac:spMkLst>
            <pc:docMk/>
            <pc:sldMk cId="1831265177" sldId="1990"/>
            <ac:spMk id="5" creationId="{49AA8776-03D7-4E62-A9E6-EABCF97DD431}"/>
          </ac:spMkLst>
        </pc:spChg>
        <pc:spChg chg="add del mod">
          <ac:chgData name="Asia Gandecka" userId="d4533edf-3129-4e97-a6db-54867d5d9a08" providerId="ADAL" clId="{589596F8-DEBB-4D6F-8716-DC3B8C328166}" dt="2019-04-24T22:14:24.717" v="1622"/>
          <ac:spMkLst>
            <pc:docMk/>
            <pc:sldMk cId="1831265177" sldId="1990"/>
            <ac:spMk id="6" creationId="{76D62380-A6AA-417B-AD7D-D48D4D7FF525}"/>
          </ac:spMkLst>
        </pc:spChg>
        <pc:spChg chg="add del mod">
          <ac:chgData name="Asia Gandecka" userId="d4533edf-3129-4e97-a6db-54867d5d9a08" providerId="ADAL" clId="{589596F8-DEBB-4D6F-8716-DC3B8C328166}" dt="2019-04-24T22:14:24.717" v="1622"/>
          <ac:spMkLst>
            <pc:docMk/>
            <pc:sldMk cId="1831265177" sldId="1990"/>
            <ac:spMk id="7" creationId="{0D934A69-9FA0-41C3-B679-61D53469DBBB}"/>
          </ac:spMkLst>
        </pc:spChg>
      </pc:sldChg>
      <pc:sldMasterChg chg="delSldLayout">
        <pc:chgData name="Asia Gandecka" userId="d4533edf-3129-4e97-a6db-54867d5d9a08" providerId="ADAL" clId="{589596F8-DEBB-4D6F-8716-DC3B8C328166}" dt="2019-04-24T21:22:34.615" v="425" actId="2696"/>
        <pc:sldMasterMkLst>
          <pc:docMk/>
          <pc:sldMasterMk cId="1150004912" sldId="2147484275"/>
        </pc:sldMasterMkLst>
      </pc:sldMasterChg>
    </pc:docChg>
  </pc:docChgLst>
  <pc:docChgLst>
    <pc:chgData name="Rishabh Mathur" userId="S::rimathur@microsoft.com::085a90ad-ff62-452d-9cc6-fb668aecc57d" providerId="AD" clId="Web-{9C1AAD7A-7856-CA08-3C9A-1166CA1B4D73}"/>
    <pc:docChg chg="modSld">
      <pc:chgData name="Rishabh Mathur" userId="S::rimathur@microsoft.com::085a90ad-ff62-452d-9cc6-fb668aecc57d" providerId="AD" clId="Web-{9C1AAD7A-7856-CA08-3C9A-1166CA1B4D73}" dt="2021-06-03T19:28:45.066" v="19"/>
      <pc:docMkLst>
        <pc:docMk/>
      </pc:docMkLst>
      <pc:sldChg chg="mod modShow">
        <pc:chgData name="Rishabh Mathur" userId="S::rimathur@microsoft.com::085a90ad-ff62-452d-9cc6-fb668aecc57d" providerId="AD" clId="Web-{9C1AAD7A-7856-CA08-3C9A-1166CA1B4D73}" dt="2021-06-03T19:28:45.066" v="19"/>
        <pc:sldMkLst>
          <pc:docMk/>
          <pc:sldMk cId="279157146" sldId="2016"/>
        </pc:sldMkLst>
      </pc:sldChg>
      <pc:sldChg chg="mod modShow">
        <pc:chgData name="Rishabh Mathur" userId="S::rimathur@microsoft.com::085a90ad-ff62-452d-9cc6-fb668aecc57d" providerId="AD" clId="Web-{9C1AAD7A-7856-CA08-3C9A-1166CA1B4D73}" dt="2021-06-03T19:28:44.800" v="16"/>
        <pc:sldMkLst>
          <pc:docMk/>
          <pc:sldMk cId="2046959756" sldId="2017"/>
        </pc:sldMkLst>
      </pc:sldChg>
      <pc:sldChg chg="mod modShow">
        <pc:chgData name="Rishabh Mathur" userId="S::rimathur@microsoft.com::085a90ad-ff62-452d-9cc6-fb668aecc57d" providerId="AD" clId="Web-{9C1AAD7A-7856-CA08-3C9A-1166CA1B4D73}" dt="2021-06-03T19:28:44.878" v="17"/>
        <pc:sldMkLst>
          <pc:docMk/>
          <pc:sldMk cId="2104978979" sldId="2018"/>
        </pc:sldMkLst>
      </pc:sldChg>
      <pc:sldChg chg="modSp mod modShow modNotes">
        <pc:chgData name="Rishabh Mathur" userId="S::rimathur@microsoft.com::085a90ad-ff62-452d-9cc6-fb668aecc57d" providerId="AD" clId="Web-{9C1AAD7A-7856-CA08-3C9A-1166CA1B4D73}" dt="2021-06-03T19:28:45.034" v="18"/>
        <pc:sldMkLst>
          <pc:docMk/>
          <pc:sldMk cId="2179952507" sldId="2020"/>
        </pc:sldMkLst>
        <pc:spChg chg="mod">
          <ac:chgData name="Rishabh Mathur" userId="S::rimathur@microsoft.com::085a90ad-ff62-452d-9cc6-fb668aecc57d" providerId="AD" clId="Web-{9C1AAD7A-7856-CA08-3C9A-1166CA1B4D73}" dt="2021-06-03T19:28:24.752" v="15" actId="20577"/>
          <ac:spMkLst>
            <pc:docMk/>
            <pc:sldMk cId="2179952507" sldId="2020"/>
            <ac:spMk id="2" creationId="{9F051C3D-1E40-423F-98BB-18248615729A}"/>
          </ac:spMkLst>
        </pc:spChg>
      </pc:sldChg>
    </pc:docChg>
  </pc:docChgLst>
  <pc:docChgLst>
    <pc:chgData name="Christopher Weaver" userId="2d47d5c7-389a-4b91-8fc5-dfad12ad20c7" providerId="ADAL" clId="{C04040D7-8C31-41F2-83CA-E3CF204CE8F6}"/>
    <pc:docChg chg="delSld modSld">
      <pc:chgData name="Christopher Weaver" userId="2d47d5c7-389a-4b91-8fc5-dfad12ad20c7" providerId="ADAL" clId="{C04040D7-8C31-41F2-83CA-E3CF204CE8F6}" dt="2020-07-31T19:20:27.310" v="11" actId="2696"/>
      <pc:docMkLst>
        <pc:docMk/>
      </pc:docMkLst>
      <pc:sldChg chg="del">
        <pc:chgData name="Christopher Weaver" userId="2d47d5c7-389a-4b91-8fc5-dfad12ad20c7" providerId="ADAL" clId="{C04040D7-8C31-41F2-83CA-E3CF204CE8F6}" dt="2020-07-31T19:19:44.996" v="8" actId="2696"/>
        <pc:sldMkLst>
          <pc:docMk/>
          <pc:sldMk cId="4186606887" sldId="262"/>
        </pc:sldMkLst>
      </pc:sldChg>
      <pc:sldChg chg="del">
        <pc:chgData name="Christopher Weaver" userId="2d47d5c7-389a-4b91-8fc5-dfad12ad20c7" providerId="ADAL" clId="{C04040D7-8C31-41F2-83CA-E3CF204CE8F6}" dt="2020-07-31T19:07:13.037" v="0" actId="2696"/>
        <pc:sldMkLst>
          <pc:docMk/>
          <pc:sldMk cId="4152765703" sldId="279"/>
        </pc:sldMkLst>
      </pc:sldChg>
      <pc:sldChg chg="del">
        <pc:chgData name="Christopher Weaver" userId="2d47d5c7-389a-4b91-8fc5-dfad12ad20c7" providerId="ADAL" clId="{C04040D7-8C31-41F2-83CA-E3CF204CE8F6}" dt="2020-07-31T19:18:55.362" v="6" actId="2696"/>
        <pc:sldMkLst>
          <pc:docMk/>
          <pc:sldMk cId="2332363192" sldId="285"/>
        </pc:sldMkLst>
      </pc:sldChg>
      <pc:sldChg chg="del">
        <pc:chgData name="Christopher Weaver" userId="2d47d5c7-389a-4b91-8fc5-dfad12ad20c7" providerId="ADAL" clId="{C04040D7-8C31-41F2-83CA-E3CF204CE8F6}" dt="2020-07-31T19:20:27.310" v="11" actId="2696"/>
        <pc:sldMkLst>
          <pc:docMk/>
          <pc:sldMk cId="3525975785" sldId="382"/>
        </pc:sldMkLst>
      </pc:sldChg>
      <pc:sldChg chg="del">
        <pc:chgData name="Christopher Weaver" userId="2d47d5c7-389a-4b91-8fc5-dfad12ad20c7" providerId="ADAL" clId="{C04040D7-8C31-41F2-83CA-E3CF204CE8F6}" dt="2020-07-31T19:19:51.065" v="9" actId="2696"/>
        <pc:sldMkLst>
          <pc:docMk/>
          <pc:sldMk cId="2750993272" sldId="399"/>
        </pc:sldMkLst>
      </pc:sldChg>
      <pc:sldChg chg="del">
        <pc:chgData name="Christopher Weaver" userId="2d47d5c7-389a-4b91-8fc5-dfad12ad20c7" providerId="ADAL" clId="{C04040D7-8C31-41F2-83CA-E3CF204CE8F6}" dt="2020-07-31T19:20:24.707" v="10" actId="2696"/>
        <pc:sldMkLst>
          <pc:docMk/>
          <pc:sldMk cId="12318851" sldId="1967"/>
        </pc:sldMkLst>
      </pc:sldChg>
      <pc:sldChg chg="del">
        <pc:chgData name="Christopher Weaver" userId="2d47d5c7-389a-4b91-8fc5-dfad12ad20c7" providerId="ADAL" clId="{C04040D7-8C31-41F2-83CA-E3CF204CE8F6}" dt="2020-07-31T19:16:12.192" v="5" actId="2696"/>
        <pc:sldMkLst>
          <pc:docMk/>
          <pc:sldMk cId="1097285130" sldId="1969"/>
        </pc:sldMkLst>
      </pc:sldChg>
      <pc:sldChg chg="del">
        <pc:chgData name="Christopher Weaver" userId="2d47d5c7-389a-4b91-8fc5-dfad12ad20c7" providerId="ADAL" clId="{C04040D7-8C31-41F2-83CA-E3CF204CE8F6}" dt="2020-07-31T19:16:04.960" v="3" actId="2696"/>
        <pc:sldMkLst>
          <pc:docMk/>
          <pc:sldMk cId="2383933296" sldId="1988"/>
        </pc:sldMkLst>
      </pc:sldChg>
      <pc:sldChg chg="del">
        <pc:chgData name="Christopher Weaver" userId="2d47d5c7-389a-4b91-8fc5-dfad12ad20c7" providerId="ADAL" clId="{C04040D7-8C31-41F2-83CA-E3CF204CE8F6}" dt="2020-07-31T19:16:08.515" v="4" actId="2696"/>
        <pc:sldMkLst>
          <pc:docMk/>
          <pc:sldMk cId="2070064816" sldId="1989"/>
        </pc:sldMkLst>
      </pc:sldChg>
      <pc:sldChg chg="del">
        <pc:chgData name="Christopher Weaver" userId="2d47d5c7-389a-4b91-8fc5-dfad12ad20c7" providerId="ADAL" clId="{C04040D7-8C31-41F2-83CA-E3CF204CE8F6}" dt="2020-07-31T19:07:36.316" v="1" actId="2696"/>
        <pc:sldMkLst>
          <pc:docMk/>
          <pc:sldMk cId="1831265177" sldId="1990"/>
        </pc:sldMkLst>
      </pc:sldChg>
      <pc:sldChg chg="modSp mod">
        <pc:chgData name="Christopher Weaver" userId="2d47d5c7-389a-4b91-8fc5-dfad12ad20c7" providerId="ADAL" clId="{C04040D7-8C31-41F2-83CA-E3CF204CE8F6}" dt="2020-07-31T19:19:10.590" v="7" actId="255"/>
        <pc:sldMkLst>
          <pc:docMk/>
          <pc:sldMk cId="3571336088" sldId="1991"/>
        </pc:sldMkLst>
        <pc:spChg chg="mod">
          <ac:chgData name="Christopher Weaver" userId="2d47d5c7-389a-4b91-8fc5-dfad12ad20c7" providerId="ADAL" clId="{C04040D7-8C31-41F2-83CA-E3CF204CE8F6}" dt="2020-07-31T19:19:10.590" v="7" actId="255"/>
          <ac:spMkLst>
            <pc:docMk/>
            <pc:sldMk cId="3571336088" sldId="1991"/>
            <ac:spMk id="7" creationId="{90ACB90D-992B-4408-B3ED-15C194BD74A4}"/>
          </ac:spMkLst>
        </pc:spChg>
      </pc:sldChg>
      <pc:sldChg chg="del">
        <pc:chgData name="Christopher Weaver" userId="2d47d5c7-389a-4b91-8fc5-dfad12ad20c7" providerId="ADAL" clId="{C04040D7-8C31-41F2-83CA-E3CF204CE8F6}" dt="2020-07-31T19:07:40.898" v="2" actId="2696"/>
        <pc:sldMkLst>
          <pc:docMk/>
          <pc:sldMk cId="4176708396" sldId="1992"/>
        </pc:sldMkLst>
      </pc:sldChg>
    </pc:docChg>
  </pc:docChgLst>
  <pc:docChgLst>
    <pc:chgData name="Christopher Weaver" userId="2d47d5c7-389a-4b91-8fc5-dfad12ad20c7" providerId="ADAL" clId="{9252E0BC-53A9-4A9B-B924-E8C5CA9BC271}"/>
    <pc:docChg chg="modSld">
      <pc:chgData name="Christopher Weaver" userId="2d47d5c7-389a-4b91-8fc5-dfad12ad20c7" providerId="ADAL" clId="{9252E0BC-53A9-4A9B-B924-E8C5CA9BC271}" dt="2020-02-21T21:10:57.960" v="95" actId="20577"/>
      <pc:docMkLst>
        <pc:docMk/>
      </pc:docMkLst>
      <pc:sldChg chg="modSp">
        <pc:chgData name="Christopher Weaver" userId="2d47d5c7-389a-4b91-8fc5-dfad12ad20c7" providerId="ADAL" clId="{9252E0BC-53A9-4A9B-B924-E8C5CA9BC271}" dt="2020-02-21T21:10:57.960" v="95" actId="20577"/>
        <pc:sldMkLst>
          <pc:docMk/>
          <pc:sldMk cId="1325058836" sldId="256"/>
        </pc:sldMkLst>
        <pc:spChg chg="mod">
          <ac:chgData name="Christopher Weaver" userId="2d47d5c7-389a-4b91-8fc5-dfad12ad20c7" providerId="ADAL" clId="{9252E0BC-53A9-4A9B-B924-E8C5CA9BC271}" dt="2020-02-21T21:10:57.960" v="95" actId="20577"/>
          <ac:spMkLst>
            <pc:docMk/>
            <pc:sldMk cId="1325058836" sldId="256"/>
            <ac:spMk id="6" creationId="{00000000-0000-0000-0000-000000000000}"/>
          </ac:spMkLst>
        </pc:spChg>
      </pc:sldChg>
    </pc:docChg>
  </pc:docChgLst>
  <pc:docChgLst>
    <pc:chgData name="Guest User" providerId="Windows Live" clId="Web-{08218534-BFED-423F-9584-1ED3EFAAA5F0}"/>
    <pc:docChg chg="modSld">
      <pc:chgData name="Guest User" userId="" providerId="Windows Live" clId="Web-{08218534-BFED-423F-9584-1ED3EFAAA5F0}" dt="2020-08-24T22:52:48.512" v="10" actId="20577"/>
      <pc:docMkLst>
        <pc:docMk/>
      </pc:docMkLst>
      <pc:sldChg chg="modSp">
        <pc:chgData name="Guest User" userId="" providerId="Windows Live" clId="Web-{08218534-BFED-423F-9584-1ED3EFAAA5F0}" dt="2020-08-24T22:51:59.259" v="8" actId="20577"/>
        <pc:sldMkLst>
          <pc:docMk/>
          <pc:sldMk cId="3716265243" sldId="1966"/>
        </pc:sldMkLst>
        <pc:spChg chg="mod">
          <ac:chgData name="Guest User" userId="" providerId="Windows Live" clId="Web-{08218534-BFED-423F-9584-1ED3EFAAA5F0}" dt="2020-08-24T22:51:59.259" v="8" actId="20577"/>
          <ac:spMkLst>
            <pc:docMk/>
            <pc:sldMk cId="3716265243" sldId="1966"/>
            <ac:spMk id="2" creationId="{C962C15F-95E3-481D-A0CF-AE6555E28DA2}"/>
          </ac:spMkLst>
        </pc:spChg>
      </pc:sldChg>
      <pc:sldChg chg="modSp">
        <pc:chgData name="Guest User" userId="" providerId="Windows Live" clId="Web-{08218534-BFED-423F-9584-1ED3EFAAA5F0}" dt="2020-08-24T22:51:50.884" v="5" actId="20577"/>
        <pc:sldMkLst>
          <pc:docMk/>
          <pc:sldMk cId="2363988451" sldId="1975"/>
        </pc:sldMkLst>
        <pc:spChg chg="mod">
          <ac:chgData name="Guest User" userId="" providerId="Windows Live" clId="Web-{08218534-BFED-423F-9584-1ED3EFAAA5F0}" dt="2020-08-24T22:51:50.884" v="5" actId="20577"/>
          <ac:spMkLst>
            <pc:docMk/>
            <pc:sldMk cId="2363988451" sldId="1975"/>
            <ac:spMk id="4" creationId="{CFC532B9-1692-43B5-938B-BB438AC5343F}"/>
          </ac:spMkLst>
        </pc:spChg>
      </pc:sldChg>
      <pc:sldChg chg="modSp">
        <pc:chgData name="Guest User" userId="" providerId="Windows Live" clId="Web-{08218534-BFED-423F-9584-1ED3EFAAA5F0}" dt="2020-08-24T22:50:29.254" v="0" actId="20577"/>
        <pc:sldMkLst>
          <pc:docMk/>
          <pc:sldMk cId="2875695618" sldId="1996"/>
        </pc:sldMkLst>
        <pc:spChg chg="mod">
          <ac:chgData name="Guest User" userId="" providerId="Windows Live" clId="Web-{08218534-BFED-423F-9584-1ED3EFAAA5F0}" dt="2020-08-24T22:50:29.254" v="0" actId="20577"/>
          <ac:spMkLst>
            <pc:docMk/>
            <pc:sldMk cId="2875695618" sldId="1996"/>
            <ac:spMk id="2" creationId="{82E1F057-4164-4917-9DC7-1568A4EDC3E7}"/>
          </ac:spMkLst>
        </pc:spChg>
      </pc:sldChg>
      <pc:sldChg chg="modSp">
        <pc:chgData name="Guest User" userId="" providerId="Windows Live" clId="Web-{08218534-BFED-423F-9584-1ED3EFAAA5F0}" dt="2020-08-24T22:50:46.021" v="1" actId="20577"/>
        <pc:sldMkLst>
          <pc:docMk/>
          <pc:sldMk cId="3612004523" sldId="1997"/>
        </pc:sldMkLst>
        <pc:spChg chg="mod">
          <ac:chgData name="Guest User" userId="" providerId="Windows Live" clId="Web-{08218534-BFED-423F-9584-1ED3EFAAA5F0}" dt="2020-08-24T22:50:46.021" v="1" actId="20577"/>
          <ac:spMkLst>
            <pc:docMk/>
            <pc:sldMk cId="3612004523" sldId="1997"/>
            <ac:spMk id="2" creationId="{82E1F057-4164-4917-9DC7-1568A4EDC3E7}"/>
          </ac:spMkLst>
        </pc:spChg>
      </pc:sldChg>
      <pc:sldChg chg="modSp">
        <pc:chgData name="Guest User" userId="" providerId="Windows Live" clId="Web-{08218534-BFED-423F-9584-1ED3EFAAA5F0}" dt="2020-08-24T22:50:56.787" v="2" actId="20577"/>
        <pc:sldMkLst>
          <pc:docMk/>
          <pc:sldMk cId="4009327331" sldId="1998"/>
        </pc:sldMkLst>
        <pc:spChg chg="mod">
          <ac:chgData name="Guest User" userId="" providerId="Windows Live" clId="Web-{08218534-BFED-423F-9584-1ED3EFAAA5F0}" dt="2020-08-24T22:50:56.787" v="2" actId="20577"/>
          <ac:spMkLst>
            <pc:docMk/>
            <pc:sldMk cId="4009327331" sldId="1998"/>
            <ac:spMk id="4" creationId="{71073A0A-3C23-47F8-B093-E6BFF8C7D470}"/>
          </ac:spMkLst>
        </pc:spChg>
      </pc:sldChg>
      <pc:sldChg chg="modSp">
        <pc:chgData name="Guest User" userId="" providerId="Windows Live" clId="Web-{08218534-BFED-423F-9584-1ED3EFAAA5F0}" dt="2020-08-24T22:51:10.475" v="3" actId="20577"/>
        <pc:sldMkLst>
          <pc:docMk/>
          <pc:sldMk cId="1491234068" sldId="1999"/>
        </pc:sldMkLst>
        <pc:spChg chg="mod">
          <ac:chgData name="Guest User" userId="" providerId="Windows Live" clId="Web-{08218534-BFED-423F-9584-1ED3EFAAA5F0}" dt="2020-08-24T22:51:10.475" v="3" actId="20577"/>
          <ac:spMkLst>
            <pc:docMk/>
            <pc:sldMk cId="1491234068" sldId="1999"/>
            <ac:spMk id="4" creationId="{125E8924-C304-4247-9EF9-F3D3E5B136BE}"/>
          </ac:spMkLst>
        </pc:spChg>
      </pc:sldChg>
      <pc:sldChg chg="modSp">
        <pc:chgData name="Guest User" userId="" providerId="Windows Live" clId="Web-{08218534-BFED-423F-9584-1ED3EFAAA5F0}" dt="2020-08-24T22:51:43.321" v="4" actId="20577"/>
        <pc:sldMkLst>
          <pc:docMk/>
          <pc:sldMk cId="3816319392" sldId="2000"/>
        </pc:sldMkLst>
        <pc:spChg chg="mod">
          <ac:chgData name="Guest User" userId="" providerId="Windows Live" clId="Web-{08218534-BFED-423F-9584-1ED3EFAAA5F0}" dt="2020-08-24T22:51:43.321" v="4" actId="20577"/>
          <ac:spMkLst>
            <pc:docMk/>
            <pc:sldMk cId="3816319392" sldId="2000"/>
            <ac:spMk id="9" creationId="{CFA559AD-4C6A-43CC-BEFA-3713581D3866}"/>
          </ac:spMkLst>
        </pc:spChg>
      </pc:sldChg>
      <pc:sldChg chg="modSp">
        <pc:chgData name="Guest User" userId="" providerId="Windows Live" clId="Web-{08218534-BFED-423F-9584-1ED3EFAAA5F0}" dt="2020-08-24T22:52:15.542" v="9" actId="20577"/>
        <pc:sldMkLst>
          <pc:docMk/>
          <pc:sldMk cId="989663208" sldId="2002"/>
        </pc:sldMkLst>
        <pc:spChg chg="mod">
          <ac:chgData name="Guest User" userId="" providerId="Windows Live" clId="Web-{08218534-BFED-423F-9584-1ED3EFAAA5F0}" dt="2020-08-24T22:52:15.542" v="9" actId="20577"/>
          <ac:spMkLst>
            <pc:docMk/>
            <pc:sldMk cId="989663208" sldId="2002"/>
            <ac:spMk id="2" creationId="{4CFEDFCF-D6E0-4C86-94E6-A5411E3F1AF5}"/>
          </ac:spMkLst>
        </pc:spChg>
      </pc:sldChg>
      <pc:sldChg chg="modSp">
        <pc:chgData name="Guest User" userId="" providerId="Windows Live" clId="Web-{08218534-BFED-423F-9584-1ED3EFAAA5F0}" dt="2020-08-24T22:52:48.512" v="10" actId="20577"/>
        <pc:sldMkLst>
          <pc:docMk/>
          <pc:sldMk cId="3314700211" sldId="2003"/>
        </pc:sldMkLst>
        <pc:spChg chg="mod">
          <ac:chgData name="Guest User" userId="" providerId="Windows Live" clId="Web-{08218534-BFED-423F-9584-1ED3EFAAA5F0}" dt="2020-08-24T22:52:48.512" v="10" actId="20577"/>
          <ac:spMkLst>
            <pc:docMk/>
            <pc:sldMk cId="3314700211" sldId="2003"/>
            <ac:spMk id="2" creationId="{00000000-0000-0000-0000-000000000000}"/>
          </ac:spMkLst>
        </pc:spChg>
      </pc:sldChg>
    </pc:docChg>
  </pc:docChgLst>
  <pc:docChgLst>
    <pc:chgData name="Christopher Weaver" userId="2d47d5c7-389a-4b91-8fc5-dfad12ad20c7" providerId="ADAL" clId="{09CC0C0B-958F-445E-9D40-96C56F394758}"/>
    <pc:docChg chg="undo custSel addSld delSld modSld sldOrd">
      <pc:chgData name="Christopher Weaver" userId="2d47d5c7-389a-4b91-8fc5-dfad12ad20c7" providerId="ADAL" clId="{09CC0C0B-958F-445E-9D40-96C56F394758}" dt="2019-05-08T14:51:22.382" v="1383"/>
      <pc:docMkLst>
        <pc:docMk/>
      </pc:docMkLst>
      <pc:sldChg chg="modSp">
        <pc:chgData name="Christopher Weaver" userId="2d47d5c7-389a-4b91-8fc5-dfad12ad20c7" providerId="ADAL" clId="{09CC0C0B-958F-445E-9D40-96C56F394758}" dt="2019-05-03T18:10:27.972" v="943" actId="20577"/>
        <pc:sldMkLst>
          <pc:docMk/>
          <pc:sldMk cId="1325058836" sldId="256"/>
        </pc:sldMkLst>
        <pc:spChg chg="mod">
          <ac:chgData name="Christopher Weaver" userId="2d47d5c7-389a-4b91-8fc5-dfad12ad20c7" providerId="ADAL" clId="{09CC0C0B-958F-445E-9D40-96C56F394758}" dt="2019-05-03T18:10:27.972" v="943" actId="20577"/>
          <ac:spMkLst>
            <pc:docMk/>
            <pc:sldMk cId="1325058836" sldId="256"/>
            <ac:spMk id="6" creationId="{00000000-0000-0000-0000-000000000000}"/>
          </ac:spMkLst>
        </pc:spChg>
      </pc:sldChg>
      <pc:sldChg chg="modSp modNotesTx">
        <pc:chgData name="Christopher Weaver" userId="2d47d5c7-389a-4b91-8fc5-dfad12ad20c7" providerId="ADAL" clId="{09CC0C0B-958F-445E-9D40-96C56F394758}" dt="2019-05-07T19:12:30.636" v="1230" actId="20577"/>
        <pc:sldMkLst>
          <pc:docMk/>
          <pc:sldMk cId="4186606887" sldId="262"/>
        </pc:sldMkLst>
        <pc:spChg chg="mod">
          <ac:chgData name="Christopher Weaver" userId="2d47d5c7-389a-4b91-8fc5-dfad12ad20c7" providerId="ADAL" clId="{09CC0C0B-958F-445E-9D40-96C56F394758}" dt="2019-05-03T16:55:46.029" v="155" actId="1076"/>
          <ac:spMkLst>
            <pc:docMk/>
            <pc:sldMk cId="4186606887" sldId="262"/>
            <ac:spMk id="2" creationId="{00000000-0000-0000-0000-000000000000}"/>
          </ac:spMkLst>
        </pc:spChg>
        <pc:spChg chg="mod">
          <ac:chgData name="Christopher Weaver" userId="2d47d5c7-389a-4b91-8fc5-dfad12ad20c7" providerId="ADAL" clId="{09CC0C0B-958F-445E-9D40-96C56F394758}" dt="2019-05-07T19:12:30.636" v="1230" actId="20577"/>
          <ac:spMkLst>
            <pc:docMk/>
            <pc:sldMk cId="4186606887" sldId="262"/>
            <ac:spMk id="4" creationId="{125E8924-C304-4247-9EF9-F3D3E5B136BE}"/>
          </ac:spMkLst>
        </pc:spChg>
        <pc:spChg chg="mod">
          <ac:chgData name="Christopher Weaver" userId="2d47d5c7-389a-4b91-8fc5-dfad12ad20c7" providerId="ADAL" clId="{09CC0C0B-958F-445E-9D40-96C56F394758}" dt="2019-05-03T16:55:39.267" v="154" actId="1076"/>
          <ac:spMkLst>
            <pc:docMk/>
            <pc:sldMk cId="4186606887" sldId="262"/>
            <ac:spMk id="21" creationId="{00000000-0000-0000-0000-000000000000}"/>
          </ac:spMkLst>
        </pc:spChg>
        <pc:spChg chg="mod">
          <ac:chgData name="Christopher Weaver" userId="2d47d5c7-389a-4b91-8fc5-dfad12ad20c7" providerId="ADAL" clId="{09CC0C0B-958F-445E-9D40-96C56F394758}" dt="2019-05-03T16:55:50.504" v="156" actId="1076"/>
          <ac:spMkLst>
            <pc:docMk/>
            <pc:sldMk cId="4186606887" sldId="262"/>
            <ac:spMk id="24" creationId="{00000000-0000-0000-0000-000000000000}"/>
          </ac:spMkLst>
        </pc:spChg>
        <pc:spChg chg="mod">
          <ac:chgData name="Christopher Weaver" userId="2d47d5c7-389a-4b91-8fc5-dfad12ad20c7" providerId="ADAL" clId="{09CC0C0B-958F-445E-9D40-96C56F394758}" dt="2019-05-03T16:55:53.730" v="157" actId="1076"/>
          <ac:spMkLst>
            <pc:docMk/>
            <pc:sldMk cId="4186606887" sldId="262"/>
            <ac:spMk id="27" creationId="{00000000-0000-0000-0000-000000000000}"/>
          </ac:spMkLst>
        </pc:spChg>
      </pc:sldChg>
      <pc:sldChg chg="modSp">
        <pc:chgData name="Christopher Weaver" userId="2d47d5c7-389a-4b91-8fc5-dfad12ad20c7" providerId="ADAL" clId="{09CC0C0B-958F-445E-9D40-96C56F394758}" dt="2019-05-08T14:40:12.728" v="1377" actId="20577"/>
        <pc:sldMkLst>
          <pc:docMk/>
          <pc:sldMk cId="2355728576" sldId="278"/>
        </pc:sldMkLst>
        <pc:spChg chg="mod">
          <ac:chgData name="Christopher Weaver" userId="2d47d5c7-389a-4b91-8fc5-dfad12ad20c7" providerId="ADAL" clId="{09CC0C0B-958F-445E-9D40-96C56F394758}" dt="2019-05-08T14:40:12.728" v="1377" actId="20577"/>
          <ac:spMkLst>
            <pc:docMk/>
            <pc:sldMk cId="2355728576" sldId="278"/>
            <ac:spMk id="3" creationId="{4C7B2818-D4B6-49AF-BC6D-48A87C308A7A}"/>
          </ac:spMkLst>
        </pc:spChg>
      </pc:sldChg>
      <pc:sldChg chg="add del modTransition">
        <pc:chgData name="Christopher Weaver" userId="2d47d5c7-389a-4b91-8fc5-dfad12ad20c7" providerId="ADAL" clId="{09CC0C0B-958F-445E-9D40-96C56F394758}" dt="2019-05-07T19:12:39.869" v="1233"/>
        <pc:sldMkLst>
          <pc:docMk/>
          <pc:sldMk cId="4152765703" sldId="279"/>
        </pc:sldMkLst>
      </pc:sldChg>
      <pc:sldChg chg="modSp modAnim">
        <pc:chgData name="Christopher Weaver" userId="2d47d5c7-389a-4b91-8fc5-dfad12ad20c7" providerId="ADAL" clId="{09CC0C0B-958F-445E-9D40-96C56F394758}" dt="2019-05-03T17:21:34.218" v="848" actId="20577"/>
        <pc:sldMkLst>
          <pc:docMk/>
          <pc:sldMk cId="1147957374" sldId="282"/>
        </pc:sldMkLst>
        <pc:spChg chg="mod">
          <ac:chgData name="Christopher Weaver" userId="2d47d5c7-389a-4b91-8fc5-dfad12ad20c7" providerId="ADAL" clId="{09CC0C0B-958F-445E-9D40-96C56F394758}" dt="2019-05-03T17:21:34.218" v="848" actId="20577"/>
          <ac:spMkLst>
            <pc:docMk/>
            <pc:sldMk cId="1147957374" sldId="282"/>
            <ac:spMk id="3" creationId="{065DB3F3-B1C0-4A47-B824-7B6D35D60263}"/>
          </ac:spMkLst>
        </pc:spChg>
      </pc:sldChg>
      <pc:sldChg chg="modSp">
        <pc:chgData name="Christopher Weaver" userId="2d47d5c7-389a-4b91-8fc5-dfad12ad20c7" providerId="ADAL" clId="{09CC0C0B-958F-445E-9D40-96C56F394758}" dt="2019-05-08T14:43:12.638" v="1382" actId="20577"/>
        <pc:sldMkLst>
          <pc:docMk/>
          <pc:sldMk cId="3550844832" sldId="283"/>
        </pc:sldMkLst>
        <pc:spChg chg="mod">
          <ac:chgData name="Christopher Weaver" userId="2d47d5c7-389a-4b91-8fc5-dfad12ad20c7" providerId="ADAL" clId="{09CC0C0B-958F-445E-9D40-96C56F394758}" dt="2019-05-08T14:43:12.638" v="1382" actId="20577"/>
          <ac:spMkLst>
            <pc:docMk/>
            <pc:sldMk cId="3550844832" sldId="283"/>
            <ac:spMk id="3" creationId="{33236595-CAC9-445D-9666-E8C18A3531A2}"/>
          </ac:spMkLst>
        </pc:spChg>
      </pc:sldChg>
      <pc:sldChg chg="add del modTransition">
        <pc:chgData name="Christopher Weaver" userId="2d47d5c7-389a-4b91-8fc5-dfad12ad20c7" providerId="ADAL" clId="{09CC0C0B-958F-445E-9D40-96C56F394758}" dt="2019-05-07T19:12:44.302" v="1234"/>
        <pc:sldMkLst>
          <pc:docMk/>
          <pc:sldMk cId="2332363192" sldId="285"/>
        </pc:sldMkLst>
      </pc:sldChg>
      <pc:sldChg chg="modSp">
        <pc:chgData name="Christopher Weaver" userId="2d47d5c7-389a-4b91-8fc5-dfad12ad20c7" providerId="ADAL" clId="{09CC0C0B-958F-445E-9D40-96C56F394758}" dt="2019-05-07T19:12:24.975" v="1217" actId="20577"/>
        <pc:sldMkLst>
          <pc:docMk/>
          <pc:sldMk cId="3525975785" sldId="382"/>
        </pc:sldMkLst>
        <pc:spChg chg="mod">
          <ac:chgData name="Christopher Weaver" userId="2d47d5c7-389a-4b91-8fc5-dfad12ad20c7" providerId="ADAL" clId="{09CC0C0B-958F-445E-9D40-96C56F394758}" dt="2019-05-07T19:12:24.975" v="1217" actId="20577"/>
          <ac:spMkLst>
            <pc:docMk/>
            <pc:sldMk cId="3525975785" sldId="382"/>
            <ac:spMk id="2" creationId="{00000000-0000-0000-0000-000000000000}"/>
          </ac:spMkLst>
        </pc:spChg>
      </pc:sldChg>
      <pc:sldChg chg="delSp modSp ord modNotesTx">
        <pc:chgData name="Christopher Weaver" userId="2d47d5c7-389a-4b91-8fc5-dfad12ad20c7" providerId="ADAL" clId="{09CC0C0B-958F-445E-9D40-96C56F394758}" dt="2019-05-07T19:12:29.867" v="1228" actId="20577"/>
        <pc:sldMkLst>
          <pc:docMk/>
          <pc:sldMk cId="2750993272" sldId="399"/>
        </pc:sldMkLst>
        <pc:spChg chg="del mod">
          <ac:chgData name="Christopher Weaver" userId="2d47d5c7-389a-4b91-8fc5-dfad12ad20c7" providerId="ADAL" clId="{09CC0C0B-958F-445E-9D40-96C56F394758}" dt="2019-05-03T17:00:44.398" v="249" actId="478"/>
          <ac:spMkLst>
            <pc:docMk/>
            <pc:sldMk cId="2750993272" sldId="399"/>
            <ac:spMk id="2" creationId="{00000000-0000-0000-0000-000000000000}"/>
          </ac:spMkLst>
        </pc:spChg>
        <pc:spChg chg="mod">
          <ac:chgData name="Christopher Weaver" userId="2d47d5c7-389a-4b91-8fc5-dfad12ad20c7" providerId="ADAL" clId="{09CC0C0B-958F-445E-9D40-96C56F394758}" dt="2019-05-07T19:12:29.867" v="1228" actId="20577"/>
          <ac:spMkLst>
            <pc:docMk/>
            <pc:sldMk cId="2750993272" sldId="399"/>
            <ac:spMk id="9" creationId="{CFA559AD-4C6A-43CC-BEFA-3713581D3866}"/>
          </ac:spMkLst>
        </pc:spChg>
        <pc:picChg chg="mod">
          <ac:chgData name="Christopher Weaver" userId="2d47d5c7-389a-4b91-8fc5-dfad12ad20c7" providerId="ADAL" clId="{09CC0C0B-958F-445E-9D40-96C56F394758}" dt="2019-05-03T17:00:58.255" v="252" actId="1076"/>
          <ac:picMkLst>
            <pc:docMk/>
            <pc:sldMk cId="2750993272" sldId="399"/>
            <ac:picMk id="4" creationId="{00000000-0000-0000-0000-000000000000}"/>
          </ac:picMkLst>
        </pc:picChg>
      </pc:sldChg>
      <pc:sldChg chg="modSp">
        <pc:chgData name="Christopher Weaver" userId="2d47d5c7-389a-4b91-8fc5-dfad12ad20c7" providerId="ADAL" clId="{09CC0C0B-958F-445E-9D40-96C56F394758}" dt="2019-05-07T19:12:25.970" v="1219" actId="20577"/>
        <pc:sldMkLst>
          <pc:docMk/>
          <pc:sldMk cId="3716265243" sldId="1966"/>
        </pc:sldMkLst>
        <pc:spChg chg="mod">
          <ac:chgData name="Christopher Weaver" userId="2d47d5c7-389a-4b91-8fc5-dfad12ad20c7" providerId="ADAL" clId="{09CC0C0B-958F-445E-9D40-96C56F394758}" dt="2019-05-07T19:12:25.970" v="1219" actId="20577"/>
          <ac:spMkLst>
            <pc:docMk/>
            <pc:sldMk cId="3716265243" sldId="1966"/>
            <ac:spMk id="2" creationId="{C962C15F-95E3-481D-A0CF-AE6555E28DA2}"/>
          </ac:spMkLst>
        </pc:spChg>
      </pc:sldChg>
      <pc:sldChg chg="modSp modNotesTx">
        <pc:chgData name="Christopher Weaver" userId="2d47d5c7-389a-4b91-8fc5-dfad12ad20c7" providerId="ADAL" clId="{09CC0C0B-958F-445E-9D40-96C56F394758}" dt="2019-05-07T19:12:25.169" v="1218" actId="20577"/>
        <pc:sldMkLst>
          <pc:docMk/>
          <pc:sldMk cId="12318851" sldId="1967"/>
        </pc:sldMkLst>
        <pc:spChg chg="mod">
          <ac:chgData name="Christopher Weaver" userId="2d47d5c7-389a-4b91-8fc5-dfad12ad20c7" providerId="ADAL" clId="{09CC0C0B-958F-445E-9D40-96C56F394758}" dt="2019-05-07T19:12:25.169" v="1218" actId="20577"/>
          <ac:spMkLst>
            <pc:docMk/>
            <pc:sldMk cId="12318851" sldId="1967"/>
            <ac:spMk id="2" creationId="{4CFEDFCF-D6E0-4C86-94E6-A5411E3F1AF5}"/>
          </ac:spMkLst>
        </pc:spChg>
      </pc:sldChg>
      <pc:sldChg chg="delSp modSp del modNotesTx">
        <pc:chgData name="Christopher Weaver" userId="2d47d5c7-389a-4b91-8fc5-dfad12ad20c7" providerId="ADAL" clId="{09CC0C0B-958F-445E-9D40-96C56F394758}" dt="2019-05-08T14:39:48.488" v="1369" actId="2696"/>
        <pc:sldMkLst>
          <pc:docMk/>
          <pc:sldMk cId="3708063927" sldId="1969"/>
        </pc:sldMkLst>
        <pc:spChg chg="del mod">
          <ac:chgData name="Christopher Weaver" userId="2d47d5c7-389a-4b91-8fc5-dfad12ad20c7" providerId="ADAL" clId="{09CC0C0B-958F-445E-9D40-96C56F394758}" dt="2019-05-03T17:15:47.280" v="697" actId="478"/>
          <ac:spMkLst>
            <pc:docMk/>
            <pc:sldMk cId="3708063927" sldId="1969"/>
            <ac:spMk id="2" creationId="{82B20489-C56F-47B9-849F-80F70A687D03}"/>
          </ac:spMkLst>
        </pc:spChg>
        <pc:picChg chg="mod">
          <ac:chgData name="Christopher Weaver" userId="2d47d5c7-389a-4b91-8fc5-dfad12ad20c7" providerId="ADAL" clId="{09CC0C0B-958F-445E-9D40-96C56F394758}" dt="2019-05-03T17:15:58.256" v="700" actId="1076"/>
          <ac:picMkLst>
            <pc:docMk/>
            <pc:sldMk cId="3708063927" sldId="1969"/>
            <ac:picMk id="5" creationId="{EC75A14C-8C4C-48C0-B694-6758E562F28A}"/>
          </ac:picMkLst>
        </pc:picChg>
      </pc:sldChg>
      <pc:sldChg chg="ord">
        <pc:chgData name="Christopher Weaver" userId="2d47d5c7-389a-4b91-8fc5-dfad12ad20c7" providerId="ADAL" clId="{09CC0C0B-958F-445E-9D40-96C56F394758}" dt="2019-05-08T14:51:22.382" v="1383"/>
        <pc:sldMkLst>
          <pc:docMk/>
          <pc:sldMk cId="2363988451" sldId="1975"/>
        </pc:sldMkLst>
      </pc:sldChg>
      <pc:sldChg chg="add del modTransition">
        <pc:chgData name="Christopher Weaver" userId="2d47d5c7-389a-4b91-8fc5-dfad12ad20c7" providerId="ADAL" clId="{09CC0C0B-958F-445E-9D40-96C56F394758}" dt="2019-05-08T14:39:48.511" v="1372" actId="2696"/>
        <pc:sldMkLst>
          <pc:docMk/>
          <pc:sldMk cId="3887381667" sldId="1981"/>
        </pc:sldMkLst>
      </pc:sldChg>
      <pc:sldChg chg="ord modTransition">
        <pc:chgData name="Christopher Weaver" userId="2d47d5c7-389a-4b91-8fc5-dfad12ad20c7" providerId="ADAL" clId="{09CC0C0B-958F-445E-9D40-96C56F394758}" dt="2019-05-08T14:38:24.007" v="1367"/>
        <pc:sldMkLst>
          <pc:docMk/>
          <pc:sldMk cId="2258079420" sldId="1982"/>
        </pc:sldMkLst>
      </pc:sldChg>
      <pc:sldChg chg="del ord modNotesTx">
        <pc:chgData name="Christopher Weaver" userId="2d47d5c7-389a-4b91-8fc5-dfad12ad20c7" providerId="ADAL" clId="{09CC0C0B-958F-445E-9D40-96C56F394758}" dt="2019-05-08T14:39:48.504" v="1371" actId="2696"/>
        <pc:sldMkLst>
          <pc:docMk/>
          <pc:sldMk cId="1744669286" sldId="1988"/>
        </pc:sldMkLst>
      </pc:sldChg>
      <pc:sldChg chg="del ord modNotesTx">
        <pc:chgData name="Christopher Weaver" userId="2d47d5c7-389a-4b91-8fc5-dfad12ad20c7" providerId="ADAL" clId="{09CC0C0B-958F-445E-9D40-96C56F394758}" dt="2019-05-08T14:39:48.488" v="1370" actId="2696"/>
        <pc:sldMkLst>
          <pc:docMk/>
          <pc:sldMk cId="656109927" sldId="1989"/>
        </pc:sldMkLst>
      </pc:sldChg>
      <pc:sldChg chg="addSp delSp modSp add del">
        <pc:chgData name="Christopher Weaver" userId="2d47d5c7-389a-4b91-8fc5-dfad12ad20c7" providerId="ADAL" clId="{09CC0C0B-958F-445E-9D40-96C56F394758}" dt="2019-05-08T14:39:48.488" v="1368" actId="2696"/>
        <pc:sldMkLst>
          <pc:docMk/>
          <pc:sldMk cId="1535519951" sldId="1991"/>
        </pc:sldMkLst>
        <pc:spChg chg="del">
          <ac:chgData name="Christopher Weaver" userId="2d47d5c7-389a-4b91-8fc5-dfad12ad20c7" providerId="ADAL" clId="{09CC0C0B-958F-445E-9D40-96C56F394758}" dt="2019-05-04T03:01:20.635" v="945"/>
          <ac:spMkLst>
            <pc:docMk/>
            <pc:sldMk cId="1535519951" sldId="1991"/>
            <ac:spMk id="2" creationId="{94A955A4-89B4-481C-8283-36059F0B0F6D}"/>
          </ac:spMkLst>
        </pc:spChg>
        <pc:spChg chg="del">
          <ac:chgData name="Christopher Weaver" userId="2d47d5c7-389a-4b91-8fc5-dfad12ad20c7" providerId="ADAL" clId="{09CC0C0B-958F-445E-9D40-96C56F394758}" dt="2019-05-04T03:01:20.635" v="945"/>
          <ac:spMkLst>
            <pc:docMk/>
            <pc:sldMk cId="1535519951" sldId="1991"/>
            <ac:spMk id="3" creationId="{D5DD1C0D-21EC-46E2-8D55-DF84C5B3540C}"/>
          </ac:spMkLst>
        </pc:spChg>
        <pc:spChg chg="add mod">
          <ac:chgData name="Christopher Weaver" userId="2d47d5c7-389a-4b91-8fc5-dfad12ad20c7" providerId="ADAL" clId="{09CC0C0B-958F-445E-9D40-96C56F394758}" dt="2019-05-04T03:02:57.655" v="1004" actId="20577"/>
          <ac:spMkLst>
            <pc:docMk/>
            <pc:sldMk cId="1535519951" sldId="1991"/>
            <ac:spMk id="4" creationId="{12D8DE96-0708-4A7F-9C9B-9D0A5B378080}"/>
          </ac:spMkLst>
        </pc:spChg>
        <pc:spChg chg="add mod">
          <ac:chgData name="Christopher Weaver" userId="2d47d5c7-389a-4b91-8fc5-dfad12ad20c7" providerId="ADAL" clId="{09CC0C0B-958F-445E-9D40-96C56F394758}" dt="2019-05-04T03:03:58.369" v="1116" actId="20577"/>
          <ac:spMkLst>
            <pc:docMk/>
            <pc:sldMk cId="1535519951" sldId="1991"/>
            <ac:spMk id="5" creationId="{1F868EAD-30D3-4785-878C-0C4B13F2E5EA}"/>
          </ac:spMkLst>
        </pc:spChg>
      </pc:sldChg>
    </pc:docChg>
  </pc:docChgLst>
  <pc:docChgLst>
    <pc:chgData name="Christopher Weaver" userId="2d47d5c7-389a-4b91-8fc5-dfad12ad20c7" providerId="ADAL" clId="{C96DBB5B-E931-4448-AC79-E0D0A667547A}"/>
    <pc:docChg chg="undo custSel addSld delSld modSld">
      <pc:chgData name="Christopher Weaver" userId="2d47d5c7-389a-4b91-8fc5-dfad12ad20c7" providerId="ADAL" clId="{C96DBB5B-E931-4448-AC79-E0D0A667547A}" dt="2020-10-08T16:37:02.633" v="1105" actId="113"/>
      <pc:docMkLst>
        <pc:docMk/>
      </pc:docMkLst>
      <pc:sldChg chg="modSp add mod">
        <pc:chgData name="Christopher Weaver" userId="2d47d5c7-389a-4b91-8fc5-dfad12ad20c7" providerId="ADAL" clId="{C96DBB5B-E931-4448-AC79-E0D0A667547A}" dt="2020-10-08T16:19:42.645" v="979" actId="1076"/>
        <pc:sldMkLst>
          <pc:docMk/>
          <pc:sldMk cId="2196428951" sldId="2008"/>
        </pc:sldMkLst>
        <pc:spChg chg="mod">
          <ac:chgData name="Christopher Weaver" userId="2d47d5c7-389a-4b91-8fc5-dfad12ad20c7" providerId="ADAL" clId="{C96DBB5B-E931-4448-AC79-E0D0A667547A}" dt="2020-10-08T16:19:42.645" v="979" actId="1076"/>
          <ac:spMkLst>
            <pc:docMk/>
            <pc:sldMk cId="2196428951" sldId="2008"/>
            <ac:spMk id="2" creationId="{4B90FCF2-EECD-430D-9A80-C888748FFCE6}"/>
          </ac:spMkLst>
        </pc:spChg>
      </pc:sldChg>
      <pc:sldChg chg="addSp delSp add del setBg">
        <pc:chgData name="Christopher Weaver" userId="2d47d5c7-389a-4b91-8fc5-dfad12ad20c7" providerId="ADAL" clId="{C96DBB5B-E931-4448-AC79-E0D0A667547A}" dt="2020-09-28T14:08:00.452" v="1"/>
        <pc:sldMkLst>
          <pc:docMk/>
          <pc:sldMk cId="2292048670" sldId="2008"/>
        </pc:sldMkLst>
        <pc:spChg chg="add del">
          <ac:chgData name="Christopher Weaver" userId="2d47d5c7-389a-4b91-8fc5-dfad12ad20c7" providerId="ADAL" clId="{C96DBB5B-E931-4448-AC79-E0D0A667547A}" dt="2020-09-28T14:08:00.452" v="1"/>
          <ac:spMkLst>
            <pc:docMk/>
            <pc:sldMk cId="2292048670" sldId="2008"/>
            <ac:spMk id="29" creationId="{6F9EB9F2-07E2-4D64-BBD8-BB5B217F1218}"/>
          </ac:spMkLst>
        </pc:spChg>
        <pc:cxnChg chg="add del">
          <ac:chgData name="Christopher Weaver" userId="2d47d5c7-389a-4b91-8fc5-dfad12ad20c7" providerId="ADAL" clId="{C96DBB5B-E931-4448-AC79-E0D0A667547A}" dt="2020-09-28T14:08:00.452" v="1"/>
          <ac:cxnSpMkLst>
            <pc:docMk/>
            <pc:sldMk cId="2292048670" sldId="2008"/>
            <ac:cxnSpMk id="30" creationId="{F0C57C7C-DFE9-4A1E-B7A9-DF40E63366BB}"/>
          </ac:cxnSpMkLst>
        </pc:cxnChg>
      </pc:sldChg>
      <pc:sldChg chg="addSp delSp modSp mod modNotesTx">
        <pc:chgData name="Christopher Weaver" userId="2d47d5c7-389a-4b91-8fc5-dfad12ad20c7" providerId="ADAL" clId="{C96DBB5B-E931-4448-AC79-E0D0A667547A}" dt="2020-10-08T16:37:02.633" v="1105" actId="113"/>
        <pc:sldMkLst>
          <pc:docMk/>
          <pc:sldMk cId="2167425751" sldId="2009"/>
        </pc:sldMkLst>
        <pc:spChg chg="add del mod">
          <ac:chgData name="Christopher Weaver" userId="2d47d5c7-389a-4b91-8fc5-dfad12ad20c7" providerId="ADAL" clId="{C96DBB5B-E931-4448-AC79-E0D0A667547A}" dt="2020-10-08T15:55:23.041" v="790"/>
          <ac:spMkLst>
            <pc:docMk/>
            <pc:sldMk cId="2167425751" sldId="2009"/>
            <ac:spMk id="4" creationId="{A6287094-1DFB-4A99-96C4-4C47E3A018CD}"/>
          </ac:spMkLst>
        </pc:spChg>
        <pc:graphicFrameChg chg="add mod modGraphic">
          <ac:chgData name="Christopher Weaver" userId="2d47d5c7-389a-4b91-8fc5-dfad12ad20c7" providerId="ADAL" clId="{C96DBB5B-E931-4448-AC79-E0D0A667547A}" dt="2020-10-08T15:56:58.328" v="831" actId="20577"/>
          <ac:graphicFrameMkLst>
            <pc:docMk/>
            <pc:sldMk cId="2167425751" sldId="2009"/>
            <ac:graphicFrameMk id="3" creationId="{A610A98E-9C86-4D2F-B42F-B15BA871A93A}"/>
          </ac:graphicFrameMkLst>
        </pc:graphicFrameChg>
        <pc:picChg chg="add del mod">
          <ac:chgData name="Christopher Weaver" userId="2d47d5c7-389a-4b91-8fc5-dfad12ad20c7" providerId="ADAL" clId="{C96DBB5B-E931-4448-AC79-E0D0A667547A}" dt="2020-10-08T15:55:47.592" v="795" actId="1076"/>
          <ac:picMkLst>
            <pc:docMk/>
            <pc:sldMk cId="2167425751" sldId="2009"/>
            <ac:picMk id="1026" creationId="{7762D949-14AC-4356-9B8F-5BCB503356D8}"/>
          </ac:picMkLst>
        </pc:picChg>
      </pc:sldChg>
      <pc:sldChg chg="addSp modSp mod modNotesTx">
        <pc:chgData name="Christopher Weaver" userId="2d47d5c7-389a-4b91-8fc5-dfad12ad20c7" providerId="ADAL" clId="{C96DBB5B-E931-4448-AC79-E0D0A667547A}" dt="2020-10-08T15:43:44.137" v="714" actId="20577"/>
        <pc:sldMkLst>
          <pc:docMk/>
          <pc:sldMk cId="608112121" sldId="2010"/>
        </pc:sldMkLst>
        <pc:spChg chg="mod">
          <ac:chgData name="Christopher Weaver" userId="2d47d5c7-389a-4b91-8fc5-dfad12ad20c7" providerId="ADAL" clId="{C96DBB5B-E931-4448-AC79-E0D0A667547A}" dt="2020-10-08T14:46:45.169" v="127" actId="20577"/>
          <ac:spMkLst>
            <pc:docMk/>
            <pc:sldMk cId="608112121" sldId="2010"/>
            <ac:spMk id="2" creationId="{9F11DA1D-3015-4115-A46F-08C300A8EA0B}"/>
          </ac:spMkLst>
        </pc:spChg>
        <pc:spChg chg="mod">
          <ac:chgData name="Christopher Weaver" userId="2d47d5c7-389a-4b91-8fc5-dfad12ad20c7" providerId="ADAL" clId="{C96DBB5B-E931-4448-AC79-E0D0A667547A}" dt="2020-10-08T14:35:39.048" v="38" actId="21"/>
          <ac:spMkLst>
            <pc:docMk/>
            <pc:sldMk cId="608112121" sldId="2010"/>
            <ac:spMk id="4" creationId="{257FC62E-49E3-444E-A85B-32C19485B2EA}"/>
          </ac:spMkLst>
        </pc:spChg>
        <pc:graphicFrameChg chg="add mod modGraphic">
          <ac:chgData name="Christopher Weaver" userId="2d47d5c7-389a-4b91-8fc5-dfad12ad20c7" providerId="ADAL" clId="{C96DBB5B-E931-4448-AC79-E0D0A667547A}" dt="2020-10-08T15:12:13.176" v="177" actId="13782"/>
          <ac:graphicFrameMkLst>
            <pc:docMk/>
            <pc:sldMk cId="608112121" sldId="2010"/>
            <ac:graphicFrameMk id="3" creationId="{BC7AE67D-4F38-4552-98BA-28FAED1B466A}"/>
          </ac:graphicFrameMkLst>
        </pc:graphicFrameChg>
      </pc:sldChg>
      <pc:sldChg chg="modSp del mod modShow">
        <pc:chgData name="Christopher Weaver" userId="2d47d5c7-389a-4b91-8fc5-dfad12ad20c7" providerId="ADAL" clId="{C96DBB5B-E931-4448-AC79-E0D0A667547A}" dt="2020-10-08T15:48:01.953" v="773" actId="2696"/>
        <pc:sldMkLst>
          <pc:docMk/>
          <pc:sldMk cId="3262157156" sldId="2011"/>
        </pc:sldMkLst>
        <pc:spChg chg="mod">
          <ac:chgData name="Christopher Weaver" userId="2d47d5c7-389a-4b91-8fc5-dfad12ad20c7" providerId="ADAL" clId="{C96DBB5B-E931-4448-AC79-E0D0A667547A}" dt="2020-10-08T14:45:34.882" v="97" actId="20577"/>
          <ac:spMkLst>
            <pc:docMk/>
            <pc:sldMk cId="3262157156" sldId="2011"/>
            <ac:spMk id="2" creationId="{24713F2B-2C02-4E78-A0FA-28C18FD685BC}"/>
          </ac:spMkLst>
        </pc:spChg>
        <pc:spChg chg="mod">
          <ac:chgData name="Christopher Weaver" userId="2d47d5c7-389a-4b91-8fc5-dfad12ad20c7" providerId="ADAL" clId="{C96DBB5B-E931-4448-AC79-E0D0A667547A}" dt="2020-10-08T14:43:27.489" v="80" actId="1076"/>
          <ac:spMkLst>
            <pc:docMk/>
            <pc:sldMk cId="3262157156" sldId="2011"/>
            <ac:spMk id="4" creationId="{51C5443A-2063-4C6D-8E3B-D3F08B6D23C8}"/>
          </ac:spMkLst>
        </pc:spChg>
        <pc:spChg chg="mod">
          <ac:chgData name="Christopher Weaver" userId="2d47d5c7-389a-4b91-8fc5-dfad12ad20c7" providerId="ADAL" clId="{C96DBB5B-E931-4448-AC79-E0D0A667547A}" dt="2020-10-08T15:44:44.781" v="715" actId="1076"/>
          <ac:spMkLst>
            <pc:docMk/>
            <pc:sldMk cId="3262157156" sldId="2011"/>
            <ac:spMk id="6" creationId="{F5201B5A-7173-426D-9E9C-024869FCF267}"/>
          </ac:spMkLst>
        </pc:spChg>
      </pc:sldChg>
      <pc:sldChg chg="addSp modSp mod modNotesTx">
        <pc:chgData name="Christopher Weaver" userId="2d47d5c7-389a-4b91-8fc5-dfad12ad20c7" providerId="ADAL" clId="{C96DBB5B-E931-4448-AC79-E0D0A667547A}" dt="2020-10-08T15:47:43.277" v="772" actId="20577"/>
        <pc:sldMkLst>
          <pc:docMk/>
          <pc:sldMk cId="4108220385" sldId="2012"/>
        </pc:sldMkLst>
        <pc:spChg chg="add mod">
          <ac:chgData name="Christopher Weaver" userId="2d47d5c7-389a-4b91-8fc5-dfad12ad20c7" providerId="ADAL" clId="{C96DBB5B-E931-4448-AC79-E0D0A667547A}" dt="2020-10-08T15:38:19.709" v="613" actId="1076"/>
          <ac:spMkLst>
            <pc:docMk/>
            <pc:sldMk cId="4108220385" sldId="2012"/>
            <ac:spMk id="3" creationId="{8ADA5948-1913-463F-8CC4-C9CB6AD671F0}"/>
          </ac:spMkLst>
        </pc:spChg>
        <pc:spChg chg="add mod">
          <ac:chgData name="Christopher Weaver" userId="2d47d5c7-389a-4b91-8fc5-dfad12ad20c7" providerId="ADAL" clId="{C96DBB5B-E931-4448-AC79-E0D0A667547A}" dt="2020-10-08T15:39:11.649" v="626" actId="6549"/>
          <ac:spMkLst>
            <pc:docMk/>
            <pc:sldMk cId="4108220385" sldId="2012"/>
            <ac:spMk id="6" creationId="{D0951595-B4E9-4648-9AD7-C6783C266DA9}"/>
          </ac:spMkLst>
        </pc:spChg>
        <pc:picChg chg="add mod">
          <ac:chgData name="Christopher Weaver" userId="2d47d5c7-389a-4b91-8fc5-dfad12ad20c7" providerId="ADAL" clId="{C96DBB5B-E931-4448-AC79-E0D0A667547A}" dt="2020-10-08T15:38:32.947" v="616" actId="14100"/>
          <ac:picMkLst>
            <pc:docMk/>
            <pc:sldMk cId="4108220385" sldId="2012"/>
            <ac:picMk id="4" creationId="{07CA59F1-978F-45C5-ADFF-16946D2E51F9}"/>
          </ac:picMkLst>
        </pc:picChg>
      </pc:sldChg>
      <pc:sldChg chg="addSp modSp new mod modNotesTx">
        <pc:chgData name="Christopher Weaver" userId="2d47d5c7-389a-4b91-8fc5-dfad12ad20c7" providerId="ADAL" clId="{C96DBB5B-E931-4448-AC79-E0D0A667547A}" dt="2020-10-08T15:39:56.126" v="646" actId="113"/>
        <pc:sldMkLst>
          <pc:docMk/>
          <pc:sldMk cId="1120387613" sldId="2013"/>
        </pc:sldMkLst>
        <pc:spChg chg="mod">
          <ac:chgData name="Christopher Weaver" userId="2d47d5c7-389a-4b91-8fc5-dfad12ad20c7" providerId="ADAL" clId="{C96DBB5B-E931-4448-AC79-E0D0A667547A}" dt="2020-10-08T14:46:56.329" v="150" actId="20577"/>
          <ac:spMkLst>
            <pc:docMk/>
            <pc:sldMk cId="1120387613" sldId="2013"/>
            <ac:spMk id="2" creationId="{F635B666-06D9-4DEC-8149-5A205CEA7357}"/>
          </ac:spMkLst>
        </pc:spChg>
        <pc:graphicFrameChg chg="add mod modGraphic">
          <ac:chgData name="Christopher Weaver" userId="2d47d5c7-389a-4b91-8fc5-dfad12ad20c7" providerId="ADAL" clId="{C96DBB5B-E931-4448-AC79-E0D0A667547A}" dt="2020-10-08T15:19:42.872" v="525" actId="14100"/>
          <ac:graphicFrameMkLst>
            <pc:docMk/>
            <pc:sldMk cId="1120387613" sldId="2013"/>
            <ac:graphicFrameMk id="3" creationId="{6AE47AF7-3091-4B6D-8E1E-DC6B1606FD43}"/>
          </ac:graphicFrameMkLst>
        </pc:graphicFrameChg>
      </pc:sldChg>
    </pc:docChg>
  </pc:docChgLst>
  <pc:docChgLst>
    <pc:chgData name="Rishabh Mathur" userId="085a90ad-ff62-452d-9cc6-fb668aecc57d" providerId="ADAL" clId="{0BD0D9A8-9701-4538-8C3B-6AFFD99AA2C6}"/>
    <pc:docChg chg="custSel modSld">
      <pc:chgData name="Rishabh Mathur" userId="085a90ad-ff62-452d-9cc6-fb668aecc57d" providerId="ADAL" clId="{0BD0D9A8-9701-4538-8C3B-6AFFD99AA2C6}" dt="2020-03-03T03:09:37.072" v="54" actId="20577"/>
      <pc:docMkLst>
        <pc:docMk/>
      </pc:docMkLst>
      <pc:sldChg chg="modSp mod">
        <pc:chgData name="Rishabh Mathur" userId="085a90ad-ff62-452d-9cc6-fb668aecc57d" providerId="ADAL" clId="{0BD0D9A8-9701-4538-8C3B-6AFFD99AA2C6}" dt="2020-03-03T03:09:37.072" v="54" actId="20577"/>
        <pc:sldMkLst>
          <pc:docMk/>
          <pc:sldMk cId="1325058836" sldId="256"/>
        </pc:sldMkLst>
        <pc:spChg chg="mod">
          <ac:chgData name="Rishabh Mathur" userId="085a90ad-ff62-452d-9cc6-fb668aecc57d" providerId="ADAL" clId="{0BD0D9A8-9701-4538-8C3B-6AFFD99AA2C6}" dt="2020-03-03T03:09:37.072" v="54" actId="20577"/>
          <ac:spMkLst>
            <pc:docMk/>
            <pc:sldMk cId="1325058836" sldId="256"/>
            <ac:spMk id="6" creationId="{00000000-0000-0000-0000-000000000000}"/>
          </ac:spMkLst>
        </pc:spChg>
      </pc:sldChg>
    </pc:docChg>
  </pc:docChgLst>
  <pc:docChgLst>
    <pc:chgData name="Ki'Yona McClary" userId="S::kmcclary@microsoft.com::492bc8e0-e31d-42f8-9b7a-81eef03d1dc4" providerId="AD" clId="Web-{4D0CB19F-2080-0000-D58B-04609C94D30C}"/>
    <pc:docChg chg="modSld">
      <pc:chgData name="Ki'Yona McClary" userId="S::kmcclary@microsoft.com::492bc8e0-e31d-42f8-9b7a-81eef03d1dc4" providerId="AD" clId="Web-{4D0CB19F-2080-0000-D58B-04609C94D30C}" dt="2021-03-04T18:57:01.838" v="33" actId="20577"/>
      <pc:docMkLst>
        <pc:docMk/>
      </pc:docMkLst>
      <pc:sldChg chg="addSp modSp">
        <pc:chgData name="Ki'Yona McClary" userId="S::kmcclary@microsoft.com::492bc8e0-e31d-42f8-9b7a-81eef03d1dc4" providerId="AD" clId="Web-{4D0CB19F-2080-0000-D58B-04609C94D30C}" dt="2021-03-04T18:57:01.838" v="33" actId="20577"/>
        <pc:sldMkLst>
          <pc:docMk/>
          <pc:sldMk cId="3612004523" sldId="1997"/>
        </pc:sldMkLst>
        <pc:spChg chg="mod">
          <ac:chgData name="Ki'Yona McClary" userId="S::kmcclary@microsoft.com::492bc8e0-e31d-42f8-9b7a-81eef03d1dc4" providerId="AD" clId="Web-{4D0CB19F-2080-0000-D58B-04609C94D30C}" dt="2021-03-04T18:56:47.962" v="25" actId="20577"/>
          <ac:spMkLst>
            <pc:docMk/>
            <pc:sldMk cId="3612004523" sldId="1997"/>
            <ac:spMk id="9" creationId="{9E1766E7-7E89-4069-BD5F-5C6AE8594A41}"/>
          </ac:spMkLst>
        </pc:spChg>
        <pc:spChg chg="mod">
          <ac:chgData name="Ki'Yona McClary" userId="S::kmcclary@microsoft.com::492bc8e0-e31d-42f8-9b7a-81eef03d1dc4" providerId="AD" clId="Web-{4D0CB19F-2080-0000-D58B-04609C94D30C}" dt="2021-03-04T18:56:44.587" v="23" actId="20577"/>
          <ac:spMkLst>
            <pc:docMk/>
            <pc:sldMk cId="3612004523" sldId="1997"/>
            <ac:spMk id="11" creationId="{40A9B32F-4DA3-46C4-BF17-4B830039FE44}"/>
          </ac:spMkLst>
        </pc:spChg>
        <pc:spChg chg="mod">
          <ac:chgData name="Ki'Yona McClary" userId="S::kmcclary@microsoft.com::492bc8e0-e31d-42f8-9b7a-81eef03d1dc4" providerId="AD" clId="Web-{4D0CB19F-2080-0000-D58B-04609C94D30C}" dt="2021-03-04T18:57:01.838" v="33" actId="20577"/>
          <ac:spMkLst>
            <pc:docMk/>
            <pc:sldMk cId="3612004523" sldId="1997"/>
            <ac:spMk id="13" creationId="{2B126222-A210-4A1E-9A5E-F21CF76814D6}"/>
          </ac:spMkLst>
        </pc:spChg>
        <pc:spChg chg="add mod">
          <ac:chgData name="Ki'Yona McClary" userId="S::kmcclary@microsoft.com::492bc8e0-e31d-42f8-9b7a-81eef03d1dc4" providerId="AD" clId="Web-{4D0CB19F-2080-0000-D58B-04609C94D30C}" dt="2021-03-04T18:56:37.446" v="22" actId="20577"/>
          <ac:spMkLst>
            <pc:docMk/>
            <pc:sldMk cId="3612004523" sldId="1997"/>
            <ac:spMk id="15" creationId="{E7F010F8-2ADB-4E62-BECF-FB5BCB150C12}"/>
          </ac:spMkLst>
        </pc:spChg>
        <pc:cxnChg chg="add mod">
          <ac:chgData name="Ki'Yona McClary" userId="S::kmcclary@microsoft.com::492bc8e0-e31d-42f8-9b7a-81eef03d1dc4" providerId="AD" clId="Web-{4D0CB19F-2080-0000-D58B-04609C94D30C}" dt="2021-03-04T18:55:39.898" v="1" actId="1076"/>
          <ac:cxnSpMkLst>
            <pc:docMk/>
            <pc:sldMk cId="3612004523" sldId="1997"/>
            <ac:cxnSpMk id="14" creationId="{2BE5649A-DFCC-4F4E-8093-1279AA2BC252}"/>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F9DDF7-22E4-4645-B237-CE7E21745B0B}"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5EF2C8A0-C2C6-4910-A44D-345D8390DB71}">
      <dgm:prSet phldrT="[Text]"/>
      <dgm:spPr/>
      <dgm:t>
        <a:bodyPr/>
        <a:lstStyle/>
        <a:p>
          <a:r>
            <a:rPr lang="en-US" b="0" i="0">
              <a:effectLst/>
              <a:latin typeface="Segoe UI" panose="020B0502040204020203" pitchFamily="34" charset="0"/>
            </a:rPr>
            <a:t>Low-code platform </a:t>
          </a:r>
          <a:endParaRPr lang="en-US"/>
        </a:p>
      </dgm:t>
    </dgm:pt>
    <dgm:pt modelId="{04A8F654-42D2-43F2-8A6F-7D7FAE6BD1C1}" type="parTrans" cxnId="{04A0CFF9-D3B2-4CC0-A66C-D8DE360121DD}">
      <dgm:prSet/>
      <dgm:spPr/>
      <dgm:t>
        <a:bodyPr/>
        <a:lstStyle/>
        <a:p>
          <a:endParaRPr lang="en-US"/>
        </a:p>
      </dgm:t>
    </dgm:pt>
    <dgm:pt modelId="{6F5DD5E2-8533-4788-9F6B-8A41340FB60A}" type="sibTrans" cxnId="{04A0CFF9-D3B2-4CC0-A66C-D8DE360121DD}">
      <dgm:prSet/>
      <dgm:spPr/>
      <dgm:t>
        <a:bodyPr/>
        <a:lstStyle/>
        <a:p>
          <a:endParaRPr lang="en-US"/>
        </a:p>
      </dgm:t>
    </dgm:pt>
    <dgm:pt modelId="{C9BF7843-A394-4055-808D-82FFDC81D6FE}">
      <dgm:prSet phldrT="[Text]"/>
      <dgm:spPr/>
      <dgm:t>
        <a:bodyPr/>
        <a:lstStyle/>
        <a:p>
          <a:r>
            <a:rPr lang="en-US" b="0" i="0">
              <a:effectLst/>
              <a:latin typeface="Segoe UI" panose="020B0502040204020203" pitchFamily="34" charset="0"/>
            </a:rPr>
            <a:t>Relational storage, and rich types</a:t>
          </a:r>
          <a:endParaRPr lang="en-US"/>
        </a:p>
      </dgm:t>
    </dgm:pt>
    <dgm:pt modelId="{1787A0BA-A877-494B-8789-58ECF6E7F892}" type="parTrans" cxnId="{54717D60-DB4C-43E2-910F-6C1620FE3C6C}">
      <dgm:prSet/>
      <dgm:spPr/>
      <dgm:t>
        <a:bodyPr/>
        <a:lstStyle/>
        <a:p>
          <a:endParaRPr lang="en-US"/>
        </a:p>
      </dgm:t>
    </dgm:pt>
    <dgm:pt modelId="{9D266017-1BF0-40AA-BF42-A6A60DE0A697}" type="sibTrans" cxnId="{54717D60-DB4C-43E2-910F-6C1620FE3C6C}">
      <dgm:prSet/>
      <dgm:spPr/>
      <dgm:t>
        <a:bodyPr/>
        <a:lstStyle/>
        <a:p>
          <a:endParaRPr lang="en-US"/>
        </a:p>
      </dgm:t>
    </dgm:pt>
    <dgm:pt modelId="{758B6698-DA5D-4987-88A0-36ADC894F593}">
      <dgm:prSet phldrT="[Text]"/>
      <dgm:spPr/>
      <dgm:t>
        <a:bodyPr/>
        <a:lstStyle/>
        <a:p>
          <a:r>
            <a:rPr lang="en-US" b="0" i="0">
              <a:effectLst/>
              <a:latin typeface="Segoe UI" panose="020B0502040204020203" pitchFamily="34" charset="0"/>
            </a:rPr>
            <a:t>Enterprise-grade governance</a:t>
          </a:r>
          <a:endParaRPr lang="en-US"/>
        </a:p>
      </dgm:t>
    </dgm:pt>
    <dgm:pt modelId="{C78D5473-2CB2-4282-882B-B81A1473F4F1}" type="parTrans" cxnId="{CB5351D5-E27C-4DD1-903D-870BA4BA2EAF}">
      <dgm:prSet/>
      <dgm:spPr/>
      <dgm:t>
        <a:bodyPr/>
        <a:lstStyle/>
        <a:p>
          <a:endParaRPr lang="en-US"/>
        </a:p>
      </dgm:t>
    </dgm:pt>
    <dgm:pt modelId="{9D4AAE36-D9F7-4DB2-8C76-FA3522E1E1DE}" type="sibTrans" cxnId="{CB5351D5-E27C-4DD1-903D-870BA4BA2EAF}">
      <dgm:prSet/>
      <dgm:spPr/>
      <dgm:t>
        <a:bodyPr/>
        <a:lstStyle/>
        <a:p>
          <a:endParaRPr lang="en-US"/>
        </a:p>
      </dgm:t>
    </dgm:pt>
    <dgm:pt modelId="{F9E05E68-9244-4191-B7BA-90392F06EEC8}">
      <dgm:prSet phldrT="[Text]"/>
      <dgm:spPr/>
      <dgm:t>
        <a:bodyPr/>
        <a:lstStyle/>
        <a:p>
          <a:r>
            <a:rPr lang="en-US" b="0" i="0">
              <a:effectLst/>
              <a:latin typeface="Segoe UI" panose="020B0502040204020203" pitchFamily="34" charset="0"/>
            </a:rPr>
            <a:t>One-click solution deployment</a:t>
          </a:r>
          <a:endParaRPr lang="en-US"/>
        </a:p>
      </dgm:t>
    </dgm:pt>
    <dgm:pt modelId="{7AF005CE-581F-4BC9-9440-BC75CE3387ED}" type="parTrans" cxnId="{6AC43D53-A1C2-4B58-9807-5A8FE7538F4C}">
      <dgm:prSet/>
      <dgm:spPr/>
      <dgm:t>
        <a:bodyPr/>
        <a:lstStyle/>
        <a:p>
          <a:endParaRPr lang="en-US"/>
        </a:p>
      </dgm:t>
    </dgm:pt>
    <dgm:pt modelId="{E441B117-C333-4993-BA6F-84A58CE8165F}" type="sibTrans" cxnId="{6AC43D53-A1C2-4B58-9807-5A8FE7538F4C}">
      <dgm:prSet/>
      <dgm:spPr/>
      <dgm:t>
        <a:bodyPr/>
        <a:lstStyle/>
        <a:p>
          <a:endParaRPr lang="en-US"/>
        </a:p>
      </dgm:t>
    </dgm:pt>
    <dgm:pt modelId="{7BF80E1B-1437-485C-B430-E3FFDFCCE8E2}" type="pres">
      <dgm:prSet presAssocID="{6DF9DDF7-22E4-4645-B237-CE7E21745B0B}" presName="diagram" presStyleCnt="0">
        <dgm:presLayoutVars>
          <dgm:dir/>
          <dgm:resizeHandles val="exact"/>
        </dgm:presLayoutVars>
      </dgm:prSet>
      <dgm:spPr/>
    </dgm:pt>
    <dgm:pt modelId="{3118139A-FA00-44DD-9065-77E7A2AE3F22}" type="pres">
      <dgm:prSet presAssocID="{5EF2C8A0-C2C6-4910-A44D-345D8390DB71}" presName="node" presStyleLbl="node1" presStyleIdx="0" presStyleCnt="4">
        <dgm:presLayoutVars>
          <dgm:bulletEnabled val="1"/>
        </dgm:presLayoutVars>
      </dgm:prSet>
      <dgm:spPr/>
    </dgm:pt>
    <dgm:pt modelId="{FE0EE330-7952-41BC-9A58-60198D244B04}" type="pres">
      <dgm:prSet presAssocID="{6F5DD5E2-8533-4788-9F6B-8A41340FB60A}" presName="sibTrans" presStyleCnt="0"/>
      <dgm:spPr/>
    </dgm:pt>
    <dgm:pt modelId="{0860A3C5-E59A-4D97-88B9-9346BECA733E}" type="pres">
      <dgm:prSet presAssocID="{C9BF7843-A394-4055-808D-82FFDC81D6FE}" presName="node" presStyleLbl="node1" presStyleIdx="1" presStyleCnt="4">
        <dgm:presLayoutVars>
          <dgm:bulletEnabled val="1"/>
        </dgm:presLayoutVars>
      </dgm:prSet>
      <dgm:spPr/>
    </dgm:pt>
    <dgm:pt modelId="{7964CF90-00FB-474F-A3DA-5F88BE306820}" type="pres">
      <dgm:prSet presAssocID="{9D266017-1BF0-40AA-BF42-A6A60DE0A697}" presName="sibTrans" presStyleCnt="0"/>
      <dgm:spPr/>
    </dgm:pt>
    <dgm:pt modelId="{7FB8DCF1-E132-4A1D-B8F0-D5211407545E}" type="pres">
      <dgm:prSet presAssocID="{758B6698-DA5D-4987-88A0-36ADC894F593}" presName="node" presStyleLbl="node1" presStyleIdx="2" presStyleCnt="4">
        <dgm:presLayoutVars>
          <dgm:bulletEnabled val="1"/>
        </dgm:presLayoutVars>
      </dgm:prSet>
      <dgm:spPr/>
    </dgm:pt>
    <dgm:pt modelId="{BC119DA5-B8A1-4406-A936-414E870B6378}" type="pres">
      <dgm:prSet presAssocID="{9D4AAE36-D9F7-4DB2-8C76-FA3522E1E1DE}" presName="sibTrans" presStyleCnt="0"/>
      <dgm:spPr/>
    </dgm:pt>
    <dgm:pt modelId="{DBDB6D8D-52E6-448D-9664-F18BA7B02A24}" type="pres">
      <dgm:prSet presAssocID="{F9E05E68-9244-4191-B7BA-90392F06EEC8}" presName="node" presStyleLbl="node1" presStyleIdx="3" presStyleCnt="4">
        <dgm:presLayoutVars>
          <dgm:bulletEnabled val="1"/>
        </dgm:presLayoutVars>
      </dgm:prSet>
      <dgm:spPr/>
    </dgm:pt>
  </dgm:ptLst>
  <dgm:cxnLst>
    <dgm:cxn modelId="{9BE31A0E-EC98-471F-883C-6C8307C1EE6C}" type="presOf" srcId="{C9BF7843-A394-4055-808D-82FFDC81D6FE}" destId="{0860A3C5-E59A-4D97-88B9-9346BECA733E}" srcOrd="0" destOrd="0" presId="urn:microsoft.com/office/officeart/2005/8/layout/default"/>
    <dgm:cxn modelId="{DF350228-A354-4DF5-ADFD-00B2F047341D}" type="presOf" srcId="{F9E05E68-9244-4191-B7BA-90392F06EEC8}" destId="{DBDB6D8D-52E6-448D-9664-F18BA7B02A24}" srcOrd="0" destOrd="0" presId="urn:microsoft.com/office/officeart/2005/8/layout/default"/>
    <dgm:cxn modelId="{54717D60-DB4C-43E2-910F-6C1620FE3C6C}" srcId="{6DF9DDF7-22E4-4645-B237-CE7E21745B0B}" destId="{C9BF7843-A394-4055-808D-82FFDC81D6FE}" srcOrd="1" destOrd="0" parTransId="{1787A0BA-A877-494B-8789-58ECF6E7F892}" sibTransId="{9D266017-1BF0-40AA-BF42-A6A60DE0A697}"/>
    <dgm:cxn modelId="{6AC43D53-A1C2-4B58-9807-5A8FE7538F4C}" srcId="{6DF9DDF7-22E4-4645-B237-CE7E21745B0B}" destId="{F9E05E68-9244-4191-B7BA-90392F06EEC8}" srcOrd="3" destOrd="0" parTransId="{7AF005CE-581F-4BC9-9440-BC75CE3387ED}" sibTransId="{E441B117-C333-4993-BA6F-84A58CE8165F}"/>
    <dgm:cxn modelId="{FD34BB9A-8A7D-4AFB-8E11-21D35B3BD902}" type="presOf" srcId="{6DF9DDF7-22E4-4645-B237-CE7E21745B0B}" destId="{7BF80E1B-1437-485C-B430-E3FFDFCCE8E2}" srcOrd="0" destOrd="0" presId="urn:microsoft.com/office/officeart/2005/8/layout/default"/>
    <dgm:cxn modelId="{CB5351D5-E27C-4DD1-903D-870BA4BA2EAF}" srcId="{6DF9DDF7-22E4-4645-B237-CE7E21745B0B}" destId="{758B6698-DA5D-4987-88A0-36ADC894F593}" srcOrd="2" destOrd="0" parTransId="{C78D5473-2CB2-4282-882B-B81A1473F4F1}" sibTransId="{9D4AAE36-D9F7-4DB2-8C76-FA3522E1E1DE}"/>
    <dgm:cxn modelId="{478835E2-3CDD-40B3-A3EE-3C8FC368CD41}" type="presOf" srcId="{758B6698-DA5D-4987-88A0-36ADC894F593}" destId="{7FB8DCF1-E132-4A1D-B8F0-D5211407545E}" srcOrd="0" destOrd="0" presId="urn:microsoft.com/office/officeart/2005/8/layout/default"/>
    <dgm:cxn modelId="{4C4BA6E8-3C72-4775-B8D2-A0C800F9DC49}" type="presOf" srcId="{5EF2C8A0-C2C6-4910-A44D-345D8390DB71}" destId="{3118139A-FA00-44DD-9065-77E7A2AE3F22}" srcOrd="0" destOrd="0" presId="urn:microsoft.com/office/officeart/2005/8/layout/default"/>
    <dgm:cxn modelId="{04A0CFF9-D3B2-4CC0-A66C-D8DE360121DD}" srcId="{6DF9DDF7-22E4-4645-B237-CE7E21745B0B}" destId="{5EF2C8A0-C2C6-4910-A44D-345D8390DB71}" srcOrd="0" destOrd="0" parTransId="{04A8F654-42D2-43F2-8A6F-7D7FAE6BD1C1}" sibTransId="{6F5DD5E2-8533-4788-9F6B-8A41340FB60A}"/>
    <dgm:cxn modelId="{C55FC4BF-B9C8-4D1C-A1D1-2888348F4308}" type="presParOf" srcId="{7BF80E1B-1437-485C-B430-E3FFDFCCE8E2}" destId="{3118139A-FA00-44DD-9065-77E7A2AE3F22}" srcOrd="0" destOrd="0" presId="urn:microsoft.com/office/officeart/2005/8/layout/default"/>
    <dgm:cxn modelId="{CF59B126-8A8F-45CB-B7BB-997A1120F486}" type="presParOf" srcId="{7BF80E1B-1437-485C-B430-E3FFDFCCE8E2}" destId="{FE0EE330-7952-41BC-9A58-60198D244B04}" srcOrd="1" destOrd="0" presId="urn:microsoft.com/office/officeart/2005/8/layout/default"/>
    <dgm:cxn modelId="{B82A834D-1A19-4620-B40D-A6622918C58D}" type="presParOf" srcId="{7BF80E1B-1437-485C-B430-E3FFDFCCE8E2}" destId="{0860A3C5-E59A-4D97-88B9-9346BECA733E}" srcOrd="2" destOrd="0" presId="urn:microsoft.com/office/officeart/2005/8/layout/default"/>
    <dgm:cxn modelId="{92A486C9-1258-4534-AFBD-9E28BA592D3E}" type="presParOf" srcId="{7BF80E1B-1437-485C-B430-E3FFDFCCE8E2}" destId="{7964CF90-00FB-474F-A3DA-5F88BE306820}" srcOrd="3" destOrd="0" presId="urn:microsoft.com/office/officeart/2005/8/layout/default"/>
    <dgm:cxn modelId="{874FFAF1-C431-4AA0-9106-E18812A8FCEC}" type="presParOf" srcId="{7BF80E1B-1437-485C-B430-E3FFDFCCE8E2}" destId="{7FB8DCF1-E132-4A1D-B8F0-D5211407545E}" srcOrd="4" destOrd="0" presId="urn:microsoft.com/office/officeart/2005/8/layout/default"/>
    <dgm:cxn modelId="{252EB8F8-3AEE-498D-80C0-84CFB322F970}" type="presParOf" srcId="{7BF80E1B-1437-485C-B430-E3FFDFCCE8E2}" destId="{BC119DA5-B8A1-4406-A936-414E870B6378}" srcOrd="5" destOrd="0" presId="urn:microsoft.com/office/officeart/2005/8/layout/default"/>
    <dgm:cxn modelId="{085B2338-4711-4794-A9D2-A41F05EDDEA1}" type="presParOf" srcId="{7BF80E1B-1437-485C-B430-E3FFDFCCE8E2}" destId="{DBDB6D8D-52E6-448D-9664-F18BA7B02A24}"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2D19C4-9332-493D-8D0D-DA032DA49723}"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n-US"/>
        </a:p>
      </dgm:t>
    </dgm:pt>
    <dgm:pt modelId="{7AE5F7D9-2DF2-426A-842C-523FFC3C85A8}">
      <dgm:prSet phldrT="[Text]"/>
      <dgm:spPr/>
      <dgm:t>
        <a:bodyPr/>
        <a:lstStyle/>
        <a:p>
          <a:r>
            <a:rPr lang="en-US"/>
            <a:t>Low-code and no-code within Teams.</a:t>
          </a:r>
        </a:p>
      </dgm:t>
    </dgm:pt>
    <dgm:pt modelId="{74B4882C-04C1-4EE2-AC41-07CA22BFEAD2}" type="parTrans" cxnId="{496E60F2-B9C6-4B3B-8191-A10810AF5DFC}">
      <dgm:prSet/>
      <dgm:spPr/>
      <dgm:t>
        <a:bodyPr/>
        <a:lstStyle/>
        <a:p>
          <a:endParaRPr lang="en-US"/>
        </a:p>
      </dgm:t>
    </dgm:pt>
    <dgm:pt modelId="{B22BEBB3-4AFC-4F3D-A902-8AE443A47513}" type="sibTrans" cxnId="{496E60F2-B9C6-4B3B-8191-A10810AF5DFC}">
      <dgm:prSet/>
      <dgm:spPr/>
      <dgm:t>
        <a:bodyPr/>
        <a:lstStyle/>
        <a:p>
          <a:endParaRPr lang="en-US"/>
        </a:p>
      </dgm:t>
    </dgm:pt>
    <dgm:pt modelId="{97A9E299-C37D-4230-BFA3-9D3E8C64CD8C}">
      <dgm:prSet phldrT="[Text]"/>
      <dgm:spPr/>
      <dgm:t>
        <a:bodyPr/>
        <a:lstStyle/>
        <a:p>
          <a:r>
            <a:rPr lang="en-US"/>
            <a:t>Core data capabilities</a:t>
          </a:r>
        </a:p>
      </dgm:t>
    </dgm:pt>
    <dgm:pt modelId="{9071DF17-434B-4926-AFD2-E9E9D49E9A38}" type="parTrans" cxnId="{C20987A0-7564-48C1-8B46-F54C046EE54B}">
      <dgm:prSet/>
      <dgm:spPr/>
      <dgm:t>
        <a:bodyPr/>
        <a:lstStyle/>
        <a:p>
          <a:endParaRPr lang="en-US"/>
        </a:p>
      </dgm:t>
    </dgm:pt>
    <dgm:pt modelId="{A9E7718B-CC24-4996-9AB8-C10061BA3FB3}" type="sibTrans" cxnId="{C20987A0-7564-48C1-8B46-F54C046EE54B}">
      <dgm:prSet/>
      <dgm:spPr/>
      <dgm:t>
        <a:bodyPr/>
        <a:lstStyle/>
        <a:p>
          <a:endParaRPr lang="en-US"/>
        </a:p>
      </dgm:t>
    </dgm:pt>
    <dgm:pt modelId="{4CB36185-DF59-4079-8C1F-F727183AF777}">
      <dgm:prSet phldrT="[Text]"/>
      <dgm:spPr/>
      <dgm:t>
        <a:bodyPr/>
        <a:lstStyle/>
        <a:p>
          <a:r>
            <a:rPr lang="en-US"/>
            <a:t>Storage and rich data types</a:t>
          </a:r>
        </a:p>
      </dgm:t>
    </dgm:pt>
    <dgm:pt modelId="{DB723753-D3BA-414D-A871-5843121C5693}" type="parTrans" cxnId="{44318195-43FB-4CB1-9C24-B0D1213846ED}">
      <dgm:prSet/>
      <dgm:spPr/>
      <dgm:t>
        <a:bodyPr/>
        <a:lstStyle/>
        <a:p>
          <a:endParaRPr lang="en-US"/>
        </a:p>
      </dgm:t>
    </dgm:pt>
    <dgm:pt modelId="{670A77C3-1AB2-48AA-BD82-4E9B70DA7CD3}" type="sibTrans" cxnId="{44318195-43FB-4CB1-9C24-B0D1213846ED}">
      <dgm:prSet/>
      <dgm:spPr/>
      <dgm:t>
        <a:bodyPr/>
        <a:lstStyle/>
        <a:p>
          <a:endParaRPr lang="en-US"/>
        </a:p>
      </dgm:t>
    </dgm:pt>
    <dgm:pt modelId="{D78EBB3F-70A7-4956-A3D7-7962D58253F9}">
      <dgm:prSet phldrT="[Text]"/>
      <dgm:spPr/>
      <dgm:t>
        <a:bodyPr/>
        <a:lstStyle/>
        <a:p>
          <a:r>
            <a:rPr lang="en-US"/>
            <a:t>New visual editor</a:t>
          </a:r>
        </a:p>
      </dgm:t>
    </dgm:pt>
    <dgm:pt modelId="{5D06D2FC-5777-4426-B88C-F2212DDFF1E8}" type="parTrans" cxnId="{8B97FF35-555C-4851-8CD5-5392D2407758}">
      <dgm:prSet/>
      <dgm:spPr/>
      <dgm:t>
        <a:bodyPr/>
        <a:lstStyle/>
        <a:p>
          <a:endParaRPr lang="en-US"/>
        </a:p>
      </dgm:t>
    </dgm:pt>
    <dgm:pt modelId="{D3DB1A03-418D-460F-B23F-D8B6DAF91D48}" type="sibTrans" cxnId="{8B97FF35-555C-4851-8CD5-5392D2407758}">
      <dgm:prSet/>
      <dgm:spPr/>
      <dgm:t>
        <a:bodyPr/>
        <a:lstStyle/>
        <a:p>
          <a:endParaRPr lang="en-US"/>
        </a:p>
      </dgm:t>
    </dgm:pt>
    <dgm:pt modelId="{21016C89-7950-45A0-97A7-2274837B3729}">
      <dgm:prSet phldrT="[Text]"/>
      <dgm:spPr/>
      <dgm:t>
        <a:bodyPr/>
        <a:lstStyle/>
        <a:p>
          <a:r>
            <a:rPr lang="en-US"/>
            <a:t>Enterprise security</a:t>
          </a:r>
        </a:p>
      </dgm:t>
    </dgm:pt>
    <dgm:pt modelId="{3E3C9E66-D8BA-495A-8276-568FFED58A86}" type="parTrans" cxnId="{27CCD851-8385-43B5-94F9-BEAD5023548D}">
      <dgm:prSet/>
      <dgm:spPr/>
      <dgm:t>
        <a:bodyPr/>
        <a:lstStyle/>
        <a:p>
          <a:endParaRPr lang="en-US"/>
        </a:p>
      </dgm:t>
    </dgm:pt>
    <dgm:pt modelId="{B915A3C4-5E4A-4D0A-A567-A99712BA070F}" type="sibTrans" cxnId="{27CCD851-8385-43B5-94F9-BEAD5023548D}">
      <dgm:prSet/>
      <dgm:spPr/>
      <dgm:t>
        <a:bodyPr/>
        <a:lstStyle/>
        <a:p>
          <a:endParaRPr lang="en-US"/>
        </a:p>
      </dgm:t>
    </dgm:pt>
    <dgm:pt modelId="{C9268ABF-5494-4DCF-B0CC-F251A84A76C6}">
      <dgm:prSet phldrT="[Text]"/>
      <dgm:spPr/>
      <dgm:t>
        <a:bodyPr/>
        <a:lstStyle/>
        <a:p>
          <a:r>
            <a:rPr lang="en-US"/>
            <a:t>Teams licenses.</a:t>
          </a:r>
        </a:p>
      </dgm:t>
    </dgm:pt>
    <dgm:pt modelId="{91B41F21-37BF-4251-88C7-4ABC1EB6AA03}" type="parTrans" cxnId="{40DC4502-A78C-46DA-AF7C-34A0941C6667}">
      <dgm:prSet/>
      <dgm:spPr/>
      <dgm:t>
        <a:bodyPr/>
        <a:lstStyle/>
        <a:p>
          <a:endParaRPr lang="en-US"/>
        </a:p>
      </dgm:t>
    </dgm:pt>
    <dgm:pt modelId="{BCAF5617-02DC-4A4B-9DFD-B0EACC4BE2FA}" type="sibTrans" cxnId="{40DC4502-A78C-46DA-AF7C-34A0941C6667}">
      <dgm:prSet/>
      <dgm:spPr/>
      <dgm:t>
        <a:bodyPr/>
        <a:lstStyle/>
        <a:p>
          <a:endParaRPr lang="en-US"/>
        </a:p>
      </dgm:t>
    </dgm:pt>
    <dgm:pt modelId="{660A9907-AF1A-45CD-8393-3A9DFDDF4799}">
      <dgm:prSet phldrT="[Text]"/>
      <dgm:spPr/>
      <dgm:t>
        <a:bodyPr/>
        <a:lstStyle/>
        <a:p>
          <a:r>
            <a:rPr lang="en-US"/>
            <a:t>Promotion to </a:t>
          </a:r>
          <a:r>
            <a:rPr lang="en-US" err="1"/>
            <a:t>Dataverse</a:t>
          </a:r>
          <a:r>
            <a:rPr lang="en-US"/>
            <a:t> (CDS).</a:t>
          </a:r>
        </a:p>
      </dgm:t>
    </dgm:pt>
    <dgm:pt modelId="{8DC468D5-37AF-4A2C-A59B-C1694FCC91FD}" type="parTrans" cxnId="{FFC15D0E-5222-4D24-A7EF-CEF4EF945765}">
      <dgm:prSet/>
      <dgm:spPr/>
      <dgm:t>
        <a:bodyPr/>
        <a:lstStyle/>
        <a:p>
          <a:endParaRPr lang="en-US"/>
        </a:p>
      </dgm:t>
    </dgm:pt>
    <dgm:pt modelId="{61666A09-07FC-4F6D-8447-422B489CCD48}" type="sibTrans" cxnId="{FFC15D0E-5222-4D24-A7EF-CEF4EF945765}">
      <dgm:prSet/>
      <dgm:spPr/>
      <dgm:t>
        <a:bodyPr/>
        <a:lstStyle/>
        <a:p>
          <a:endParaRPr lang="en-US"/>
        </a:p>
      </dgm:t>
    </dgm:pt>
    <dgm:pt modelId="{68C04F5C-C6E1-43D7-9E2F-4188A7837A7A}">
      <dgm:prSet/>
      <dgm:spPr/>
      <dgm:t>
        <a:bodyPr/>
        <a:lstStyle/>
        <a:p>
          <a:r>
            <a:rPr lang="en-US"/>
            <a:t>2 GB per team, and support for up to 1 million rows</a:t>
          </a:r>
        </a:p>
      </dgm:t>
    </dgm:pt>
    <dgm:pt modelId="{0695631A-47CB-4366-A2A9-4396C31B629B}" type="parTrans" cxnId="{376504E9-99E0-4156-99BC-95F799131177}">
      <dgm:prSet/>
      <dgm:spPr/>
      <dgm:t>
        <a:bodyPr/>
        <a:lstStyle/>
        <a:p>
          <a:endParaRPr lang="en-US"/>
        </a:p>
      </dgm:t>
    </dgm:pt>
    <dgm:pt modelId="{A1C38EB5-979B-4BB6-B8DA-FAAEBE4DA19E}" type="sibTrans" cxnId="{376504E9-99E0-4156-99BC-95F799131177}">
      <dgm:prSet/>
      <dgm:spPr/>
      <dgm:t>
        <a:bodyPr/>
        <a:lstStyle/>
        <a:p>
          <a:endParaRPr lang="en-US"/>
        </a:p>
      </dgm:t>
    </dgm:pt>
    <dgm:pt modelId="{B5539171-E680-4EC8-9B81-970F637662B1}" type="pres">
      <dgm:prSet presAssocID="{652D19C4-9332-493D-8D0D-DA032DA49723}" presName="diagram" presStyleCnt="0">
        <dgm:presLayoutVars>
          <dgm:dir/>
          <dgm:resizeHandles val="exact"/>
        </dgm:presLayoutVars>
      </dgm:prSet>
      <dgm:spPr/>
    </dgm:pt>
    <dgm:pt modelId="{F30F2F15-EA08-475B-A375-6E6F5A47EC44}" type="pres">
      <dgm:prSet presAssocID="{7AE5F7D9-2DF2-426A-842C-523FFC3C85A8}" presName="node" presStyleLbl="node1" presStyleIdx="0" presStyleCnt="8">
        <dgm:presLayoutVars>
          <dgm:bulletEnabled val="1"/>
        </dgm:presLayoutVars>
      </dgm:prSet>
      <dgm:spPr/>
    </dgm:pt>
    <dgm:pt modelId="{CFCE2723-D2C1-4A60-86E6-4D3743C32385}" type="pres">
      <dgm:prSet presAssocID="{B22BEBB3-4AFC-4F3D-A902-8AE443A47513}" presName="sibTrans" presStyleCnt="0"/>
      <dgm:spPr/>
    </dgm:pt>
    <dgm:pt modelId="{8379A563-B112-420C-B914-71382929ABAD}" type="pres">
      <dgm:prSet presAssocID="{97A9E299-C37D-4230-BFA3-9D3E8C64CD8C}" presName="node" presStyleLbl="node1" presStyleIdx="1" presStyleCnt="8">
        <dgm:presLayoutVars>
          <dgm:bulletEnabled val="1"/>
        </dgm:presLayoutVars>
      </dgm:prSet>
      <dgm:spPr/>
    </dgm:pt>
    <dgm:pt modelId="{DCAC0723-A3E2-4908-9CFD-0FBBE05F0CAF}" type="pres">
      <dgm:prSet presAssocID="{A9E7718B-CC24-4996-9AB8-C10061BA3FB3}" presName="sibTrans" presStyleCnt="0"/>
      <dgm:spPr/>
    </dgm:pt>
    <dgm:pt modelId="{488D62E9-86BB-41D4-8D30-ECDCCCB3272C}" type="pres">
      <dgm:prSet presAssocID="{4CB36185-DF59-4079-8C1F-F727183AF777}" presName="node" presStyleLbl="node1" presStyleIdx="2" presStyleCnt="8">
        <dgm:presLayoutVars>
          <dgm:bulletEnabled val="1"/>
        </dgm:presLayoutVars>
      </dgm:prSet>
      <dgm:spPr/>
    </dgm:pt>
    <dgm:pt modelId="{5F7B5974-1EDC-4BC0-82C8-C72769A276D7}" type="pres">
      <dgm:prSet presAssocID="{670A77C3-1AB2-48AA-BD82-4E9B70DA7CD3}" presName="sibTrans" presStyleCnt="0"/>
      <dgm:spPr/>
    </dgm:pt>
    <dgm:pt modelId="{6978515E-0ACD-4EEB-99CB-FE8EFDE4718A}" type="pres">
      <dgm:prSet presAssocID="{D78EBB3F-70A7-4956-A3D7-7962D58253F9}" presName="node" presStyleLbl="node1" presStyleIdx="3" presStyleCnt="8">
        <dgm:presLayoutVars>
          <dgm:bulletEnabled val="1"/>
        </dgm:presLayoutVars>
      </dgm:prSet>
      <dgm:spPr/>
    </dgm:pt>
    <dgm:pt modelId="{1888B8F1-6DDC-417B-8079-15CD9FA74BDB}" type="pres">
      <dgm:prSet presAssocID="{D3DB1A03-418D-460F-B23F-D8B6DAF91D48}" presName="sibTrans" presStyleCnt="0"/>
      <dgm:spPr/>
    </dgm:pt>
    <dgm:pt modelId="{5ADFD843-4156-4D1E-96A0-70E571304E85}" type="pres">
      <dgm:prSet presAssocID="{21016C89-7950-45A0-97A7-2274837B3729}" presName="node" presStyleLbl="node1" presStyleIdx="4" presStyleCnt="8">
        <dgm:presLayoutVars>
          <dgm:bulletEnabled val="1"/>
        </dgm:presLayoutVars>
      </dgm:prSet>
      <dgm:spPr/>
    </dgm:pt>
    <dgm:pt modelId="{DCE59F01-FB82-4F4A-B4E7-D59E44EF57FE}" type="pres">
      <dgm:prSet presAssocID="{B915A3C4-5E4A-4D0A-A567-A99712BA070F}" presName="sibTrans" presStyleCnt="0"/>
      <dgm:spPr/>
    </dgm:pt>
    <dgm:pt modelId="{AF9D0554-4067-480C-8161-EEBF072B4310}" type="pres">
      <dgm:prSet presAssocID="{C9268ABF-5494-4DCF-B0CC-F251A84A76C6}" presName="node" presStyleLbl="node1" presStyleIdx="5" presStyleCnt="8">
        <dgm:presLayoutVars>
          <dgm:bulletEnabled val="1"/>
        </dgm:presLayoutVars>
      </dgm:prSet>
      <dgm:spPr/>
    </dgm:pt>
    <dgm:pt modelId="{25ECB3F6-7123-47C7-9773-3686DEE55CE6}" type="pres">
      <dgm:prSet presAssocID="{BCAF5617-02DC-4A4B-9DFD-B0EACC4BE2FA}" presName="sibTrans" presStyleCnt="0"/>
      <dgm:spPr/>
    </dgm:pt>
    <dgm:pt modelId="{D9AE150E-F36A-4100-99F9-8B661F7F9169}" type="pres">
      <dgm:prSet presAssocID="{68C04F5C-C6E1-43D7-9E2F-4188A7837A7A}" presName="node" presStyleLbl="node1" presStyleIdx="6" presStyleCnt="8">
        <dgm:presLayoutVars>
          <dgm:bulletEnabled val="1"/>
        </dgm:presLayoutVars>
      </dgm:prSet>
      <dgm:spPr/>
    </dgm:pt>
    <dgm:pt modelId="{33778BAB-1602-4F5E-94AF-3D190587F660}" type="pres">
      <dgm:prSet presAssocID="{A1C38EB5-979B-4BB6-B8DA-FAAEBE4DA19E}" presName="sibTrans" presStyleCnt="0"/>
      <dgm:spPr/>
    </dgm:pt>
    <dgm:pt modelId="{7EE24D44-3172-4D58-941C-5546DE6EDD7F}" type="pres">
      <dgm:prSet presAssocID="{660A9907-AF1A-45CD-8393-3A9DFDDF4799}" presName="node" presStyleLbl="node1" presStyleIdx="7" presStyleCnt="8">
        <dgm:presLayoutVars>
          <dgm:bulletEnabled val="1"/>
        </dgm:presLayoutVars>
      </dgm:prSet>
      <dgm:spPr/>
    </dgm:pt>
  </dgm:ptLst>
  <dgm:cxnLst>
    <dgm:cxn modelId="{40DC4502-A78C-46DA-AF7C-34A0941C6667}" srcId="{652D19C4-9332-493D-8D0D-DA032DA49723}" destId="{C9268ABF-5494-4DCF-B0CC-F251A84A76C6}" srcOrd="5" destOrd="0" parTransId="{91B41F21-37BF-4251-88C7-4ABC1EB6AA03}" sibTransId="{BCAF5617-02DC-4A4B-9DFD-B0EACC4BE2FA}"/>
    <dgm:cxn modelId="{2144BB0D-6F7A-4659-A20F-1F2F6AD668A3}" type="presOf" srcId="{4CB36185-DF59-4079-8C1F-F727183AF777}" destId="{488D62E9-86BB-41D4-8D30-ECDCCCB3272C}" srcOrd="0" destOrd="0" presId="urn:microsoft.com/office/officeart/2005/8/layout/default"/>
    <dgm:cxn modelId="{FFC15D0E-5222-4D24-A7EF-CEF4EF945765}" srcId="{652D19C4-9332-493D-8D0D-DA032DA49723}" destId="{660A9907-AF1A-45CD-8393-3A9DFDDF4799}" srcOrd="7" destOrd="0" parTransId="{8DC468D5-37AF-4A2C-A59B-C1694FCC91FD}" sibTransId="{61666A09-07FC-4F6D-8447-422B489CCD48}"/>
    <dgm:cxn modelId="{CF84E31D-8EF4-4FD7-AD1A-5D6C12A46967}" type="presOf" srcId="{652D19C4-9332-493D-8D0D-DA032DA49723}" destId="{B5539171-E680-4EC8-9B81-970F637662B1}" srcOrd="0" destOrd="0" presId="urn:microsoft.com/office/officeart/2005/8/layout/default"/>
    <dgm:cxn modelId="{12AA7230-45DB-4D88-8166-DB4D9143DC20}" type="presOf" srcId="{D78EBB3F-70A7-4956-A3D7-7962D58253F9}" destId="{6978515E-0ACD-4EEB-99CB-FE8EFDE4718A}" srcOrd="0" destOrd="0" presId="urn:microsoft.com/office/officeart/2005/8/layout/default"/>
    <dgm:cxn modelId="{8B97FF35-555C-4851-8CD5-5392D2407758}" srcId="{652D19C4-9332-493D-8D0D-DA032DA49723}" destId="{D78EBB3F-70A7-4956-A3D7-7962D58253F9}" srcOrd="3" destOrd="0" parTransId="{5D06D2FC-5777-4426-B88C-F2212DDFF1E8}" sibTransId="{D3DB1A03-418D-460F-B23F-D8B6DAF91D48}"/>
    <dgm:cxn modelId="{5E374542-34EE-4AD9-A7CE-F01FF87480D5}" type="presOf" srcId="{21016C89-7950-45A0-97A7-2274837B3729}" destId="{5ADFD843-4156-4D1E-96A0-70E571304E85}" srcOrd="0" destOrd="0" presId="urn:microsoft.com/office/officeart/2005/8/layout/default"/>
    <dgm:cxn modelId="{483AA843-AB20-4443-9F2A-20A045893DC6}" type="presOf" srcId="{C9268ABF-5494-4DCF-B0CC-F251A84A76C6}" destId="{AF9D0554-4067-480C-8161-EEBF072B4310}" srcOrd="0" destOrd="0" presId="urn:microsoft.com/office/officeart/2005/8/layout/default"/>
    <dgm:cxn modelId="{A3CBAF4F-70C1-40B3-93EB-FC902F141E00}" type="presOf" srcId="{68C04F5C-C6E1-43D7-9E2F-4188A7837A7A}" destId="{D9AE150E-F36A-4100-99F9-8B661F7F9169}" srcOrd="0" destOrd="0" presId="urn:microsoft.com/office/officeart/2005/8/layout/default"/>
    <dgm:cxn modelId="{27CCD851-8385-43B5-94F9-BEAD5023548D}" srcId="{652D19C4-9332-493D-8D0D-DA032DA49723}" destId="{21016C89-7950-45A0-97A7-2274837B3729}" srcOrd="4" destOrd="0" parTransId="{3E3C9E66-D8BA-495A-8276-568FFED58A86}" sibTransId="{B915A3C4-5E4A-4D0A-A567-A99712BA070F}"/>
    <dgm:cxn modelId="{3252DC53-50D1-4537-8A56-2D54AF611CAA}" type="presOf" srcId="{660A9907-AF1A-45CD-8393-3A9DFDDF4799}" destId="{7EE24D44-3172-4D58-941C-5546DE6EDD7F}" srcOrd="0" destOrd="0" presId="urn:microsoft.com/office/officeart/2005/8/layout/default"/>
    <dgm:cxn modelId="{44318195-43FB-4CB1-9C24-B0D1213846ED}" srcId="{652D19C4-9332-493D-8D0D-DA032DA49723}" destId="{4CB36185-DF59-4079-8C1F-F727183AF777}" srcOrd="2" destOrd="0" parTransId="{DB723753-D3BA-414D-A871-5843121C5693}" sibTransId="{670A77C3-1AB2-48AA-BD82-4E9B70DA7CD3}"/>
    <dgm:cxn modelId="{94C2FC99-5781-470C-A776-5AFB19C3ACD6}" type="presOf" srcId="{7AE5F7D9-2DF2-426A-842C-523FFC3C85A8}" destId="{F30F2F15-EA08-475B-A375-6E6F5A47EC44}" srcOrd="0" destOrd="0" presId="urn:microsoft.com/office/officeart/2005/8/layout/default"/>
    <dgm:cxn modelId="{C20987A0-7564-48C1-8B46-F54C046EE54B}" srcId="{652D19C4-9332-493D-8D0D-DA032DA49723}" destId="{97A9E299-C37D-4230-BFA3-9D3E8C64CD8C}" srcOrd="1" destOrd="0" parTransId="{9071DF17-434B-4926-AFD2-E9E9D49E9A38}" sibTransId="{A9E7718B-CC24-4996-9AB8-C10061BA3FB3}"/>
    <dgm:cxn modelId="{376504E9-99E0-4156-99BC-95F799131177}" srcId="{652D19C4-9332-493D-8D0D-DA032DA49723}" destId="{68C04F5C-C6E1-43D7-9E2F-4188A7837A7A}" srcOrd="6" destOrd="0" parTransId="{0695631A-47CB-4366-A2A9-4396C31B629B}" sibTransId="{A1C38EB5-979B-4BB6-B8DA-FAAEBE4DA19E}"/>
    <dgm:cxn modelId="{496E60F2-B9C6-4B3B-8191-A10810AF5DFC}" srcId="{652D19C4-9332-493D-8D0D-DA032DA49723}" destId="{7AE5F7D9-2DF2-426A-842C-523FFC3C85A8}" srcOrd="0" destOrd="0" parTransId="{74B4882C-04C1-4EE2-AC41-07CA22BFEAD2}" sibTransId="{B22BEBB3-4AFC-4F3D-A902-8AE443A47513}"/>
    <dgm:cxn modelId="{D6D618F5-95B1-4062-A27F-04176807D079}" type="presOf" srcId="{97A9E299-C37D-4230-BFA3-9D3E8C64CD8C}" destId="{8379A563-B112-420C-B914-71382929ABAD}" srcOrd="0" destOrd="0" presId="urn:microsoft.com/office/officeart/2005/8/layout/default"/>
    <dgm:cxn modelId="{BA0FBBF9-C394-4624-849E-36AB995AA958}" type="presParOf" srcId="{B5539171-E680-4EC8-9B81-970F637662B1}" destId="{F30F2F15-EA08-475B-A375-6E6F5A47EC44}" srcOrd="0" destOrd="0" presId="urn:microsoft.com/office/officeart/2005/8/layout/default"/>
    <dgm:cxn modelId="{A8067426-33E9-469E-8C29-6E4AD50ECE91}" type="presParOf" srcId="{B5539171-E680-4EC8-9B81-970F637662B1}" destId="{CFCE2723-D2C1-4A60-86E6-4D3743C32385}" srcOrd="1" destOrd="0" presId="urn:microsoft.com/office/officeart/2005/8/layout/default"/>
    <dgm:cxn modelId="{D4136E6F-04DA-4DD9-9C28-CA7EE0167B97}" type="presParOf" srcId="{B5539171-E680-4EC8-9B81-970F637662B1}" destId="{8379A563-B112-420C-B914-71382929ABAD}" srcOrd="2" destOrd="0" presId="urn:microsoft.com/office/officeart/2005/8/layout/default"/>
    <dgm:cxn modelId="{7EFF473F-B83C-4AE1-A865-7CB32ACE7727}" type="presParOf" srcId="{B5539171-E680-4EC8-9B81-970F637662B1}" destId="{DCAC0723-A3E2-4908-9CFD-0FBBE05F0CAF}" srcOrd="3" destOrd="0" presId="urn:microsoft.com/office/officeart/2005/8/layout/default"/>
    <dgm:cxn modelId="{13E4BF54-7208-4873-81C1-0A97E085B9D7}" type="presParOf" srcId="{B5539171-E680-4EC8-9B81-970F637662B1}" destId="{488D62E9-86BB-41D4-8D30-ECDCCCB3272C}" srcOrd="4" destOrd="0" presId="urn:microsoft.com/office/officeart/2005/8/layout/default"/>
    <dgm:cxn modelId="{F79168A7-7AA0-4563-8660-61475AF53C80}" type="presParOf" srcId="{B5539171-E680-4EC8-9B81-970F637662B1}" destId="{5F7B5974-1EDC-4BC0-82C8-C72769A276D7}" srcOrd="5" destOrd="0" presId="urn:microsoft.com/office/officeart/2005/8/layout/default"/>
    <dgm:cxn modelId="{68E922E0-9900-4BAE-906A-F3E593C95CC0}" type="presParOf" srcId="{B5539171-E680-4EC8-9B81-970F637662B1}" destId="{6978515E-0ACD-4EEB-99CB-FE8EFDE4718A}" srcOrd="6" destOrd="0" presId="urn:microsoft.com/office/officeart/2005/8/layout/default"/>
    <dgm:cxn modelId="{A2C40217-A4A2-4A72-BD39-06B03ED24D51}" type="presParOf" srcId="{B5539171-E680-4EC8-9B81-970F637662B1}" destId="{1888B8F1-6DDC-417B-8079-15CD9FA74BDB}" srcOrd="7" destOrd="0" presId="urn:microsoft.com/office/officeart/2005/8/layout/default"/>
    <dgm:cxn modelId="{44F88CCA-B65F-4080-86B5-A545A29C1B75}" type="presParOf" srcId="{B5539171-E680-4EC8-9B81-970F637662B1}" destId="{5ADFD843-4156-4D1E-96A0-70E571304E85}" srcOrd="8" destOrd="0" presId="urn:microsoft.com/office/officeart/2005/8/layout/default"/>
    <dgm:cxn modelId="{6DD6DB81-4B41-4167-B3F4-28FEDA579C41}" type="presParOf" srcId="{B5539171-E680-4EC8-9B81-970F637662B1}" destId="{DCE59F01-FB82-4F4A-B4E7-D59E44EF57FE}" srcOrd="9" destOrd="0" presId="urn:microsoft.com/office/officeart/2005/8/layout/default"/>
    <dgm:cxn modelId="{EA938386-4D54-488D-BFBF-74A6CE6F47FB}" type="presParOf" srcId="{B5539171-E680-4EC8-9B81-970F637662B1}" destId="{AF9D0554-4067-480C-8161-EEBF072B4310}" srcOrd="10" destOrd="0" presId="urn:microsoft.com/office/officeart/2005/8/layout/default"/>
    <dgm:cxn modelId="{8CA159AE-2D1D-4FBB-B2EC-07269782FEBB}" type="presParOf" srcId="{B5539171-E680-4EC8-9B81-970F637662B1}" destId="{25ECB3F6-7123-47C7-9773-3686DEE55CE6}" srcOrd="11" destOrd="0" presId="urn:microsoft.com/office/officeart/2005/8/layout/default"/>
    <dgm:cxn modelId="{ECE79913-157D-45F3-9263-85E767E8FAB4}" type="presParOf" srcId="{B5539171-E680-4EC8-9B81-970F637662B1}" destId="{D9AE150E-F36A-4100-99F9-8B661F7F9169}" srcOrd="12" destOrd="0" presId="urn:microsoft.com/office/officeart/2005/8/layout/default"/>
    <dgm:cxn modelId="{E80E724E-D26B-4F24-8E1F-6FC05325D1A4}" type="presParOf" srcId="{B5539171-E680-4EC8-9B81-970F637662B1}" destId="{33778BAB-1602-4F5E-94AF-3D190587F660}" srcOrd="13" destOrd="0" presId="urn:microsoft.com/office/officeart/2005/8/layout/default"/>
    <dgm:cxn modelId="{3C64144D-11D8-4F5D-8D84-C7C3DD79605D}" type="presParOf" srcId="{B5539171-E680-4EC8-9B81-970F637662B1}" destId="{7EE24D44-3172-4D58-941C-5546DE6EDD7F}"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2A8032-6EAD-4A4E-BC02-8325ED4EFCEC}" type="doc">
      <dgm:prSet loTypeId="urn:microsoft.com/office/officeart/2005/8/layout/hProcess9" loCatId="process" qsTypeId="urn:microsoft.com/office/officeart/2005/8/quickstyle/simple1" qsCatId="simple" csTypeId="urn:microsoft.com/office/officeart/2005/8/colors/accent2_2" csCatId="accent2" phldr="1"/>
      <dgm:spPr/>
    </dgm:pt>
    <dgm:pt modelId="{317324BF-DF53-481A-BFAC-E9056A072BFF}">
      <dgm:prSet phldrT="[Text]"/>
      <dgm:spPr/>
      <dgm:t>
        <a:bodyPr/>
        <a:lstStyle/>
        <a:p>
          <a:r>
            <a:rPr lang="en-US"/>
            <a:t>Access</a:t>
          </a:r>
        </a:p>
      </dgm:t>
    </dgm:pt>
    <dgm:pt modelId="{6CFEA7DB-16D7-4D15-95FE-E7CBAF4B5DC9}" type="parTrans" cxnId="{30CB5A44-CD4B-4CAC-BC5A-F58A3CB31DB8}">
      <dgm:prSet/>
      <dgm:spPr/>
      <dgm:t>
        <a:bodyPr/>
        <a:lstStyle/>
        <a:p>
          <a:endParaRPr lang="en-US"/>
        </a:p>
      </dgm:t>
    </dgm:pt>
    <dgm:pt modelId="{BF2AE85F-5B7D-49A6-A22E-1541E1639282}" type="sibTrans" cxnId="{30CB5A44-CD4B-4CAC-BC5A-F58A3CB31DB8}">
      <dgm:prSet/>
      <dgm:spPr/>
      <dgm:t>
        <a:bodyPr/>
        <a:lstStyle/>
        <a:p>
          <a:endParaRPr lang="en-US"/>
        </a:p>
      </dgm:t>
    </dgm:pt>
    <dgm:pt modelId="{3B7032F8-9EF0-426B-B958-A73B1E24901C}">
      <dgm:prSet phldrT="[Text]"/>
      <dgm:spPr/>
      <dgm:t>
        <a:bodyPr/>
        <a:lstStyle/>
        <a:p>
          <a:r>
            <a:rPr lang="en-US"/>
            <a:t>Coding</a:t>
          </a:r>
        </a:p>
      </dgm:t>
    </dgm:pt>
    <dgm:pt modelId="{7492531A-82A8-43FD-BFCA-285486F0BA9B}" type="parTrans" cxnId="{29069E3A-47B6-45FF-B4D4-A087FF7B8D01}">
      <dgm:prSet/>
      <dgm:spPr/>
      <dgm:t>
        <a:bodyPr/>
        <a:lstStyle/>
        <a:p>
          <a:endParaRPr lang="en-US"/>
        </a:p>
      </dgm:t>
    </dgm:pt>
    <dgm:pt modelId="{DCD68B0E-1080-4D0C-A31A-4C41894157EC}" type="sibTrans" cxnId="{29069E3A-47B6-45FF-B4D4-A087FF7B8D01}">
      <dgm:prSet/>
      <dgm:spPr/>
      <dgm:t>
        <a:bodyPr/>
        <a:lstStyle/>
        <a:p>
          <a:endParaRPr lang="en-US"/>
        </a:p>
      </dgm:t>
    </dgm:pt>
    <dgm:pt modelId="{9F8E23BD-41D1-41B2-822C-20D4835CF64F}">
      <dgm:prSet phldrT="[Text]"/>
      <dgm:spPr/>
      <dgm:t>
        <a:bodyPr/>
        <a:lstStyle/>
        <a:p>
          <a:r>
            <a:rPr lang="en-US"/>
            <a:t>Data limitations</a:t>
          </a:r>
        </a:p>
      </dgm:t>
    </dgm:pt>
    <dgm:pt modelId="{5D5C3FBA-C42D-4947-BF5E-2A345BF9035F}" type="parTrans" cxnId="{3B04F2A2-0D6E-4F2D-8C0C-61C8899528E3}">
      <dgm:prSet/>
      <dgm:spPr/>
      <dgm:t>
        <a:bodyPr/>
        <a:lstStyle/>
        <a:p>
          <a:endParaRPr lang="en-US"/>
        </a:p>
      </dgm:t>
    </dgm:pt>
    <dgm:pt modelId="{BFF2726A-3A0F-42B0-922D-29C933612024}" type="sibTrans" cxnId="{3B04F2A2-0D6E-4F2D-8C0C-61C8899528E3}">
      <dgm:prSet/>
      <dgm:spPr/>
      <dgm:t>
        <a:bodyPr/>
        <a:lstStyle/>
        <a:p>
          <a:endParaRPr lang="en-US"/>
        </a:p>
      </dgm:t>
    </dgm:pt>
    <dgm:pt modelId="{3CC804B5-7843-4731-9C52-6C47A4CE68B9}">
      <dgm:prSet phldrT="[Text]"/>
      <dgm:spPr/>
      <dgm:t>
        <a:bodyPr/>
        <a:lstStyle/>
        <a:p>
          <a:r>
            <a:rPr lang="en-US"/>
            <a:t>Environment limitations</a:t>
          </a:r>
        </a:p>
      </dgm:t>
    </dgm:pt>
    <dgm:pt modelId="{1385C044-47F5-456B-8FFA-7203FBA33B2B}" type="parTrans" cxnId="{6F63DBCD-E7D1-407D-BC48-9EDA70B13844}">
      <dgm:prSet/>
      <dgm:spPr/>
      <dgm:t>
        <a:bodyPr/>
        <a:lstStyle/>
        <a:p>
          <a:endParaRPr lang="en-US"/>
        </a:p>
      </dgm:t>
    </dgm:pt>
    <dgm:pt modelId="{50814FDB-FFF4-4AF2-8511-8D4158666D5C}" type="sibTrans" cxnId="{6F63DBCD-E7D1-407D-BC48-9EDA70B13844}">
      <dgm:prSet/>
      <dgm:spPr/>
      <dgm:t>
        <a:bodyPr/>
        <a:lstStyle/>
        <a:p>
          <a:endParaRPr lang="en-US"/>
        </a:p>
      </dgm:t>
    </dgm:pt>
    <dgm:pt modelId="{5ECFFAA3-CC2C-4293-B973-E17AE26FDD9D}" type="pres">
      <dgm:prSet presAssocID="{7B2A8032-6EAD-4A4E-BC02-8325ED4EFCEC}" presName="CompostProcess" presStyleCnt="0">
        <dgm:presLayoutVars>
          <dgm:dir/>
          <dgm:resizeHandles val="exact"/>
        </dgm:presLayoutVars>
      </dgm:prSet>
      <dgm:spPr/>
    </dgm:pt>
    <dgm:pt modelId="{DF86DD61-D55A-44F6-AD69-5B778359480C}" type="pres">
      <dgm:prSet presAssocID="{7B2A8032-6EAD-4A4E-BC02-8325ED4EFCEC}" presName="arrow" presStyleLbl="bgShp" presStyleIdx="0" presStyleCnt="1"/>
      <dgm:spPr/>
    </dgm:pt>
    <dgm:pt modelId="{4FEA5BE8-FA08-45D0-B33B-BCBAD64FFE17}" type="pres">
      <dgm:prSet presAssocID="{7B2A8032-6EAD-4A4E-BC02-8325ED4EFCEC}" presName="linearProcess" presStyleCnt="0"/>
      <dgm:spPr/>
    </dgm:pt>
    <dgm:pt modelId="{00A5357D-BC85-42CA-8D17-0796671D41B8}" type="pres">
      <dgm:prSet presAssocID="{317324BF-DF53-481A-BFAC-E9056A072BFF}" presName="textNode" presStyleLbl="node1" presStyleIdx="0" presStyleCnt="4">
        <dgm:presLayoutVars>
          <dgm:bulletEnabled val="1"/>
        </dgm:presLayoutVars>
      </dgm:prSet>
      <dgm:spPr/>
    </dgm:pt>
    <dgm:pt modelId="{3D9DB4AC-C3FF-41F2-8550-8214CD573F85}" type="pres">
      <dgm:prSet presAssocID="{BF2AE85F-5B7D-49A6-A22E-1541E1639282}" presName="sibTrans" presStyleCnt="0"/>
      <dgm:spPr/>
    </dgm:pt>
    <dgm:pt modelId="{88A775D9-D616-4973-A867-82EC9625AFD7}" type="pres">
      <dgm:prSet presAssocID="{3B7032F8-9EF0-426B-B958-A73B1E24901C}" presName="textNode" presStyleLbl="node1" presStyleIdx="1" presStyleCnt="4">
        <dgm:presLayoutVars>
          <dgm:bulletEnabled val="1"/>
        </dgm:presLayoutVars>
      </dgm:prSet>
      <dgm:spPr/>
    </dgm:pt>
    <dgm:pt modelId="{1FC60149-6B36-42BF-A5B6-E3830CF3785D}" type="pres">
      <dgm:prSet presAssocID="{DCD68B0E-1080-4D0C-A31A-4C41894157EC}" presName="sibTrans" presStyleCnt="0"/>
      <dgm:spPr/>
    </dgm:pt>
    <dgm:pt modelId="{EC0B7E4B-C138-40E8-9CDA-F3AF4B615605}" type="pres">
      <dgm:prSet presAssocID="{9F8E23BD-41D1-41B2-822C-20D4835CF64F}" presName="textNode" presStyleLbl="node1" presStyleIdx="2" presStyleCnt="4">
        <dgm:presLayoutVars>
          <dgm:bulletEnabled val="1"/>
        </dgm:presLayoutVars>
      </dgm:prSet>
      <dgm:spPr/>
    </dgm:pt>
    <dgm:pt modelId="{7034DBE6-F090-4617-8BC5-51C2A846146F}" type="pres">
      <dgm:prSet presAssocID="{BFF2726A-3A0F-42B0-922D-29C933612024}" presName="sibTrans" presStyleCnt="0"/>
      <dgm:spPr/>
    </dgm:pt>
    <dgm:pt modelId="{103881B5-9AA9-42C2-8369-496B37A3A05B}" type="pres">
      <dgm:prSet presAssocID="{3CC804B5-7843-4731-9C52-6C47A4CE68B9}" presName="textNode" presStyleLbl="node1" presStyleIdx="3" presStyleCnt="4">
        <dgm:presLayoutVars>
          <dgm:bulletEnabled val="1"/>
        </dgm:presLayoutVars>
      </dgm:prSet>
      <dgm:spPr/>
    </dgm:pt>
  </dgm:ptLst>
  <dgm:cxnLst>
    <dgm:cxn modelId="{29069E3A-47B6-45FF-B4D4-A087FF7B8D01}" srcId="{7B2A8032-6EAD-4A4E-BC02-8325ED4EFCEC}" destId="{3B7032F8-9EF0-426B-B958-A73B1E24901C}" srcOrd="1" destOrd="0" parTransId="{7492531A-82A8-43FD-BFCA-285486F0BA9B}" sibTransId="{DCD68B0E-1080-4D0C-A31A-4C41894157EC}"/>
    <dgm:cxn modelId="{D3FAC040-F98C-4061-A5ED-B08E7DEBBA2F}" type="presOf" srcId="{317324BF-DF53-481A-BFAC-E9056A072BFF}" destId="{00A5357D-BC85-42CA-8D17-0796671D41B8}" srcOrd="0" destOrd="0" presId="urn:microsoft.com/office/officeart/2005/8/layout/hProcess9"/>
    <dgm:cxn modelId="{30CB5A44-CD4B-4CAC-BC5A-F58A3CB31DB8}" srcId="{7B2A8032-6EAD-4A4E-BC02-8325ED4EFCEC}" destId="{317324BF-DF53-481A-BFAC-E9056A072BFF}" srcOrd="0" destOrd="0" parTransId="{6CFEA7DB-16D7-4D15-95FE-E7CBAF4B5DC9}" sibTransId="{BF2AE85F-5B7D-49A6-A22E-1541E1639282}"/>
    <dgm:cxn modelId="{94398DA2-064F-447E-8FBC-66FA0864F557}" type="presOf" srcId="{9F8E23BD-41D1-41B2-822C-20D4835CF64F}" destId="{EC0B7E4B-C138-40E8-9CDA-F3AF4B615605}" srcOrd="0" destOrd="0" presId="urn:microsoft.com/office/officeart/2005/8/layout/hProcess9"/>
    <dgm:cxn modelId="{EA3DCAA2-D938-4FD6-A5D6-1082320E740B}" type="presOf" srcId="{3CC804B5-7843-4731-9C52-6C47A4CE68B9}" destId="{103881B5-9AA9-42C2-8369-496B37A3A05B}" srcOrd="0" destOrd="0" presId="urn:microsoft.com/office/officeart/2005/8/layout/hProcess9"/>
    <dgm:cxn modelId="{3B04F2A2-0D6E-4F2D-8C0C-61C8899528E3}" srcId="{7B2A8032-6EAD-4A4E-BC02-8325ED4EFCEC}" destId="{9F8E23BD-41D1-41B2-822C-20D4835CF64F}" srcOrd="2" destOrd="0" parTransId="{5D5C3FBA-C42D-4947-BF5E-2A345BF9035F}" sibTransId="{BFF2726A-3A0F-42B0-922D-29C933612024}"/>
    <dgm:cxn modelId="{F6C400CA-3C34-45D4-8C19-F7C95AB4DDAD}" type="presOf" srcId="{3B7032F8-9EF0-426B-B958-A73B1E24901C}" destId="{88A775D9-D616-4973-A867-82EC9625AFD7}" srcOrd="0" destOrd="0" presId="urn:microsoft.com/office/officeart/2005/8/layout/hProcess9"/>
    <dgm:cxn modelId="{6F63DBCD-E7D1-407D-BC48-9EDA70B13844}" srcId="{7B2A8032-6EAD-4A4E-BC02-8325ED4EFCEC}" destId="{3CC804B5-7843-4731-9C52-6C47A4CE68B9}" srcOrd="3" destOrd="0" parTransId="{1385C044-47F5-456B-8FFA-7203FBA33B2B}" sibTransId="{50814FDB-FFF4-4AF2-8511-8D4158666D5C}"/>
    <dgm:cxn modelId="{D9948EFD-7CB6-45F9-8018-80AD3BD8F8E1}" type="presOf" srcId="{7B2A8032-6EAD-4A4E-BC02-8325ED4EFCEC}" destId="{5ECFFAA3-CC2C-4293-B973-E17AE26FDD9D}" srcOrd="0" destOrd="0" presId="urn:microsoft.com/office/officeart/2005/8/layout/hProcess9"/>
    <dgm:cxn modelId="{869390BC-E512-4356-A1F4-AE014535146D}" type="presParOf" srcId="{5ECFFAA3-CC2C-4293-B973-E17AE26FDD9D}" destId="{DF86DD61-D55A-44F6-AD69-5B778359480C}" srcOrd="0" destOrd="0" presId="urn:microsoft.com/office/officeart/2005/8/layout/hProcess9"/>
    <dgm:cxn modelId="{7A6A9A59-977C-47CC-86AD-EF11A8221898}" type="presParOf" srcId="{5ECFFAA3-CC2C-4293-B973-E17AE26FDD9D}" destId="{4FEA5BE8-FA08-45D0-B33B-BCBAD64FFE17}" srcOrd="1" destOrd="0" presId="urn:microsoft.com/office/officeart/2005/8/layout/hProcess9"/>
    <dgm:cxn modelId="{D26191B8-0ED4-42C7-8D44-8D751CCF6129}" type="presParOf" srcId="{4FEA5BE8-FA08-45D0-B33B-BCBAD64FFE17}" destId="{00A5357D-BC85-42CA-8D17-0796671D41B8}" srcOrd="0" destOrd="0" presId="urn:microsoft.com/office/officeart/2005/8/layout/hProcess9"/>
    <dgm:cxn modelId="{0D081E4B-6653-47D6-B112-BD0B56D89898}" type="presParOf" srcId="{4FEA5BE8-FA08-45D0-B33B-BCBAD64FFE17}" destId="{3D9DB4AC-C3FF-41F2-8550-8214CD573F85}" srcOrd="1" destOrd="0" presId="urn:microsoft.com/office/officeart/2005/8/layout/hProcess9"/>
    <dgm:cxn modelId="{EAC397C4-6B63-40B3-B2B9-F0F56F56683C}" type="presParOf" srcId="{4FEA5BE8-FA08-45D0-B33B-BCBAD64FFE17}" destId="{88A775D9-D616-4973-A867-82EC9625AFD7}" srcOrd="2" destOrd="0" presId="urn:microsoft.com/office/officeart/2005/8/layout/hProcess9"/>
    <dgm:cxn modelId="{4D9BC062-2F6F-4CED-BA2D-31770E7BCACC}" type="presParOf" srcId="{4FEA5BE8-FA08-45D0-B33B-BCBAD64FFE17}" destId="{1FC60149-6B36-42BF-A5B6-E3830CF3785D}" srcOrd="3" destOrd="0" presId="urn:microsoft.com/office/officeart/2005/8/layout/hProcess9"/>
    <dgm:cxn modelId="{DB6413E5-069F-4912-B09D-A2FB396511D5}" type="presParOf" srcId="{4FEA5BE8-FA08-45D0-B33B-BCBAD64FFE17}" destId="{EC0B7E4B-C138-40E8-9CDA-F3AF4B615605}" srcOrd="4" destOrd="0" presId="urn:microsoft.com/office/officeart/2005/8/layout/hProcess9"/>
    <dgm:cxn modelId="{3871719D-116F-465D-86D1-78D1796237F8}" type="presParOf" srcId="{4FEA5BE8-FA08-45D0-B33B-BCBAD64FFE17}" destId="{7034DBE6-F090-4617-8BC5-51C2A846146F}" srcOrd="5" destOrd="0" presId="urn:microsoft.com/office/officeart/2005/8/layout/hProcess9"/>
    <dgm:cxn modelId="{89CFE5ED-9F1B-448E-B07B-5F2D69E56C15}" type="presParOf" srcId="{4FEA5BE8-FA08-45D0-B33B-BCBAD64FFE17}" destId="{103881B5-9AA9-42C2-8369-496B37A3A05B}"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C1681EE-B250-48DF-A763-B4D17CCE7B7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448AAA6-46B1-4D62-8AA7-A4ADF166ECFE}">
      <dgm:prSet phldrT="[Text]" phldr="0"/>
      <dgm:spPr/>
      <dgm:t>
        <a:bodyPr/>
        <a:lstStyle/>
        <a:p>
          <a:pPr algn="ctr"/>
          <a:r>
            <a:rPr lang="en-US"/>
            <a:t>Containers for storing content within a SharePoint site</a:t>
          </a:r>
        </a:p>
      </dgm:t>
    </dgm:pt>
    <dgm:pt modelId="{5DCAE407-3CD6-4AAD-AFAB-DB7290212F9F}" type="parTrans" cxnId="{BC08C968-4FE7-4CA4-8CA2-C61BDCB26CED}">
      <dgm:prSet/>
      <dgm:spPr/>
      <dgm:t>
        <a:bodyPr/>
        <a:lstStyle/>
        <a:p>
          <a:endParaRPr lang="en-US"/>
        </a:p>
      </dgm:t>
    </dgm:pt>
    <dgm:pt modelId="{30C35C1A-6789-4B66-B7FD-9F6547B2FA42}" type="sibTrans" cxnId="{BC08C968-4FE7-4CA4-8CA2-C61BDCB26CED}">
      <dgm:prSet/>
      <dgm:spPr/>
      <dgm:t>
        <a:bodyPr/>
        <a:lstStyle/>
        <a:p>
          <a:endParaRPr lang="en-US"/>
        </a:p>
      </dgm:t>
    </dgm:pt>
    <dgm:pt modelId="{06BBAB7E-FD0C-4DA7-9319-64441E9492FF}">
      <dgm:prSet phldrT="[Text]" phldr="0"/>
      <dgm:spPr/>
      <dgm:t>
        <a:bodyPr/>
        <a:lstStyle/>
        <a:p>
          <a:pPr algn="ctr"/>
          <a:r>
            <a:rPr lang="en-US"/>
            <a:t>Lists organize content in the form of items (with or without attachments)</a:t>
          </a:r>
        </a:p>
      </dgm:t>
    </dgm:pt>
    <dgm:pt modelId="{7D7148DA-5AC8-4A0A-B171-7E67C1B082B6}" type="parTrans" cxnId="{6E1EB89F-6041-4ED0-B3F1-99F162AD9538}">
      <dgm:prSet/>
      <dgm:spPr/>
      <dgm:t>
        <a:bodyPr/>
        <a:lstStyle/>
        <a:p>
          <a:endParaRPr lang="en-US"/>
        </a:p>
      </dgm:t>
    </dgm:pt>
    <dgm:pt modelId="{1398216C-A6A0-4E81-9551-CC6CDFE0C9C4}" type="sibTrans" cxnId="{6E1EB89F-6041-4ED0-B3F1-99F162AD9538}">
      <dgm:prSet/>
      <dgm:spPr/>
      <dgm:t>
        <a:bodyPr/>
        <a:lstStyle/>
        <a:p>
          <a:endParaRPr lang="en-US"/>
        </a:p>
      </dgm:t>
    </dgm:pt>
    <dgm:pt modelId="{367EB158-0A86-4ABF-AB00-7D9CE28530D0}">
      <dgm:prSet phldrT="[Text]" phldr="0"/>
      <dgm:spPr/>
      <dgm:t>
        <a:bodyPr/>
        <a:lstStyle/>
        <a:p>
          <a:pPr algn="ctr"/>
          <a:r>
            <a:rPr lang="en-US"/>
            <a:t>Libraries organize content in the form of documents or files</a:t>
          </a:r>
        </a:p>
      </dgm:t>
    </dgm:pt>
    <dgm:pt modelId="{6EAD0E04-A683-4319-B301-DB7494B2682A}" type="parTrans" cxnId="{A4324317-6D10-4BD5-9362-33EDFE6F802D}">
      <dgm:prSet/>
      <dgm:spPr/>
      <dgm:t>
        <a:bodyPr/>
        <a:lstStyle/>
        <a:p>
          <a:endParaRPr lang="en-US"/>
        </a:p>
      </dgm:t>
    </dgm:pt>
    <dgm:pt modelId="{0A5279D4-F6AC-4977-B5DD-B0586AA34ED0}" type="sibTrans" cxnId="{A4324317-6D10-4BD5-9362-33EDFE6F802D}">
      <dgm:prSet/>
      <dgm:spPr/>
      <dgm:t>
        <a:bodyPr/>
        <a:lstStyle/>
        <a:p>
          <a:endParaRPr lang="en-US"/>
        </a:p>
      </dgm:t>
    </dgm:pt>
    <dgm:pt modelId="{9B3E0C55-DB75-4B88-B49B-1A0943115C81}" type="pres">
      <dgm:prSet presAssocID="{5C1681EE-B250-48DF-A763-B4D17CCE7B79}" presName="linear" presStyleCnt="0">
        <dgm:presLayoutVars>
          <dgm:animLvl val="lvl"/>
          <dgm:resizeHandles val="exact"/>
        </dgm:presLayoutVars>
      </dgm:prSet>
      <dgm:spPr/>
    </dgm:pt>
    <dgm:pt modelId="{5A6D10B0-CBFF-4CB5-9827-F142E66CFB7D}" type="pres">
      <dgm:prSet presAssocID="{6448AAA6-46B1-4D62-8AA7-A4ADF166ECFE}" presName="parentText" presStyleLbl="node1" presStyleIdx="0" presStyleCnt="3">
        <dgm:presLayoutVars>
          <dgm:chMax val="0"/>
          <dgm:bulletEnabled val="1"/>
        </dgm:presLayoutVars>
      </dgm:prSet>
      <dgm:spPr/>
    </dgm:pt>
    <dgm:pt modelId="{D048F578-5A96-4D61-9F15-528698EDF2E8}" type="pres">
      <dgm:prSet presAssocID="{30C35C1A-6789-4B66-B7FD-9F6547B2FA42}" presName="spacer" presStyleCnt="0"/>
      <dgm:spPr/>
    </dgm:pt>
    <dgm:pt modelId="{0E6CBB66-02A0-4082-85BB-29014EB4807E}" type="pres">
      <dgm:prSet presAssocID="{06BBAB7E-FD0C-4DA7-9319-64441E9492FF}" presName="parentText" presStyleLbl="node1" presStyleIdx="1" presStyleCnt="3">
        <dgm:presLayoutVars>
          <dgm:chMax val="0"/>
          <dgm:bulletEnabled val="1"/>
        </dgm:presLayoutVars>
      </dgm:prSet>
      <dgm:spPr/>
    </dgm:pt>
    <dgm:pt modelId="{3C351D0C-5397-4B0E-81AE-AA6FC2DD2A52}" type="pres">
      <dgm:prSet presAssocID="{1398216C-A6A0-4E81-9551-CC6CDFE0C9C4}" presName="spacer" presStyleCnt="0"/>
      <dgm:spPr/>
    </dgm:pt>
    <dgm:pt modelId="{32A00A47-DD48-4B3B-BCC4-3E121FAAB8C7}" type="pres">
      <dgm:prSet presAssocID="{367EB158-0A86-4ABF-AB00-7D9CE28530D0}" presName="parentText" presStyleLbl="node1" presStyleIdx="2" presStyleCnt="3">
        <dgm:presLayoutVars>
          <dgm:chMax val="0"/>
          <dgm:bulletEnabled val="1"/>
        </dgm:presLayoutVars>
      </dgm:prSet>
      <dgm:spPr/>
    </dgm:pt>
  </dgm:ptLst>
  <dgm:cxnLst>
    <dgm:cxn modelId="{955BFC0C-F8C9-4471-8F97-76291C2D3F72}" type="presOf" srcId="{06BBAB7E-FD0C-4DA7-9319-64441E9492FF}" destId="{0E6CBB66-02A0-4082-85BB-29014EB4807E}" srcOrd="0" destOrd="0" presId="urn:microsoft.com/office/officeart/2005/8/layout/vList2"/>
    <dgm:cxn modelId="{A4324317-6D10-4BD5-9362-33EDFE6F802D}" srcId="{5C1681EE-B250-48DF-A763-B4D17CCE7B79}" destId="{367EB158-0A86-4ABF-AB00-7D9CE28530D0}" srcOrd="2" destOrd="0" parTransId="{6EAD0E04-A683-4319-B301-DB7494B2682A}" sibTransId="{0A5279D4-F6AC-4977-B5DD-B0586AA34ED0}"/>
    <dgm:cxn modelId="{BC08C968-4FE7-4CA4-8CA2-C61BDCB26CED}" srcId="{5C1681EE-B250-48DF-A763-B4D17CCE7B79}" destId="{6448AAA6-46B1-4D62-8AA7-A4ADF166ECFE}" srcOrd="0" destOrd="0" parTransId="{5DCAE407-3CD6-4AAD-AFAB-DB7290212F9F}" sibTransId="{30C35C1A-6789-4B66-B7FD-9F6547B2FA42}"/>
    <dgm:cxn modelId="{20D1C550-A77C-47C1-9E74-A90D3E01B0FE}" type="presOf" srcId="{6448AAA6-46B1-4D62-8AA7-A4ADF166ECFE}" destId="{5A6D10B0-CBFF-4CB5-9827-F142E66CFB7D}" srcOrd="0" destOrd="0" presId="urn:microsoft.com/office/officeart/2005/8/layout/vList2"/>
    <dgm:cxn modelId="{6E1EB89F-6041-4ED0-B3F1-99F162AD9538}" srcId="{5C1681EE-B250-48DF-A763-B4D17CCE7B79}" destId="{06BBAB7E-FD0C-4DA7-9319-64441E9492FF}" srcOrd="1" destOrd="0" parTransId="{7D7148DA-5AC8-4A0A-B171-7E67C1B082B6}" sibTransId="{1398216C-A6A0-4E81-9551-CC6CDFE0C9C4}"/>
    <dgm:cxn modelId="{EE5A24C6-A811-4FAE-810F-7C6D18E3BE51}" type="presOf" srcId="{367EB158-0A86-4ABF-AB00-7D9CE28530D0}" destId="{32A00A47-DD48-4B3B-BCC4-3E121FAAB8C7}" srcOrd="0" destOrd="0" presId="urn:microsoft.com/office/officeart/2005/8/layout/vList2"/>
    <dgm:cxn modelId="{B07C25E4-3235-44AA-B74F-4AC637030E2C}" type="presOf" srcId="{5C1681EE-B250-48DF-A763-B4D17CCE7B79}" destId="{9B3E0C55-DB75-4B88-B49B-1A0943115C81}" srcOrd="0" destOrd="0" presId="urn:microsoft.com/office/officeart/2005/8/layout/vList2"/>
    <dgm:cxn modelId="{89E2F57A-883C-4238-8C8F-C94535DB7F4F}" type="presParOf" srcId="{9B3E0C55-DB75-4B88-B49B-1A0943115C81}" destId="{5A6D10B0-CBFF-4CB5-9827-F142E66CFB7D}" srcOrd="0" destOrd="0" presId="urn:microsoft.com/office/officeart/2005/8/layout/vList2"/>
    <dgm:cxn modelId="{44B77138-690C-4F51-8F57-2E9662AAE035}" type="presParOf" srcId="{9B3E0C55-DB75-4B88-B49B-1A0943115C81}" destId="{D048F578-5A96-4D61-9F15-528698EDF2E8}" srcOrd="1" destOrd="0" presId="urn:microsoft.com/office/officeart/2005/8/layout/vList2"/>
    <dgm:cxn modelId="{F52EBBF6-189E-4EEA-9EB2-FC9F80237AAB}" type="presParOf" srcId="{9B3E0C55-DB75-4B88-B49B-1A0943115C81}" destId="{0E6CBB66-02A0-4082-85BB-29014EB4807E}" srcOrd="2" destOrd="0" presId="urn:microsoft.com/office/officeart/2005/8/layout/vList2"/>
    <dgm:cxn modelId="{1563B62B-57A3-432D-9C41-45AEEB570FF7}" type="presParOf" srcId="{9B3E0C55-DB75-4B88-B49B-1A0943115C81}" destId="{3C351D0C-5397-4B0E-81AE-AA6FC2DD2A52}" srcOrd="3" destOrd="0" presId="urn:microsoft.com/office/officeart/2005/8/layout/vList2"/>
    <dgm:cxn modelId="{188946B2-ECA4-4EE1-869E-084C187C7E04}" type="presParOf" srcId="{9B3E0C55-DB75-4B88-B49B-1A0943115C81}" destId="{32A00A47-DD48-4B3B-BCC4-3E121FAAB8C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18139A-FA00-44DD-9065-77E7A2AE3F22}">
      <dsp:nvSpPr>
        <dsp:cNvPr id="0" name=""/>
        <dsp:cNvSpPr/>
      </dsp:nvSpPr>
      <dsp:spPr>
        <a:xfrm>
          <a:off x="700861" y="3202"/>
          <a:ext cx="1905568" cy="11433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effectLst/>
              <a:latin typeface="Segoe UI" panose="020B0502040204020203" pitchFamily="34" charset="0"/>
            </a:rPr>
            <a:t>Low-code platform </a:t>
          </a:r>
          <a:endParaRPr lang="en-US" sz="2100" kern="1200"/>
        </a:p>
      </dsp:txBody>
      <dsp:txXfrm>
        <a:off x="700861" y="3202"/>
        <a:ext cx="1905568" cy="1143340"/>
      </dsp:txXfrm>
    </dsp:sp>
    <dsp:sp modelId="{0860A3C5-E59A-4D97-88B9-9346BECA733E}">
      <dsp:nvSpPr>
        <dsp:cNvPr id="0" name=""/>
        <dsp:cNvSpPr/>
      </dsp:nvSpPr>
      <dsp:spPr>
        <a:xfrm>
          <a:off x="700861" y="1337099"/>
          <a:ext cx="1905568" cy="11433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effectLst/>
              <a:latin typeface="Segoe UI" panose="020B0502040204020203" pitchFamily="34" charset="0"/>
            </a:rPr>
            <a:t>Relational storage, and rich types</a:t>
          </a:r>
          <a:endParaRPr lang="en-US" sz="2100" kern="1200"/>
        </a:p>
      </dsp:txBody>
      <dsp:txXfrm>
        <a:off x="700861" y="1337099"/>
        <a:ext cx="1905568" cy="1143340"/>
      </dsp:txXfrm>
    </dsp:sp>
    <dsp:sp modelId="{7FB8DCF1-E132-4A1D-B8F0-D5211407545E}">
      <dsp:nvSpPr>
        <dsp:cNvPr id="0" name=""/>
        <dsp:cNvSpPr/>
      </dsp:nvSpPr>
      <dsp:spPr>
        <a:xfrm>
          <a:off x="700861" y="2670997"/>
          <a:ext cx="1905568" cy="11433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effectLst/>
              <a:latin typeface="Segoe UI" panose="020B0502040204020203" pitchFamily="34" charset="0"/>
            </a:rPr>
            <a:t>Enterprise-grade governance</a:t>
          </a:r>
          <a:endParaRPr lang="en-US" sz="2100" kern="1200"/>
        </a:p>
      </dsp:txBody>
      <dsp:txXfrm>
        <a:off x="700861" y="2670997"/>
        <a:ext cx="1905568" cy="1143340"/>
      </dsp:txXfrm>
    </dsp:sp>
    <dsp:sp modelId="{DBDB6D8D-52E6-448D-9664-F18BA7B02A24}">
      <dsp:nvSpPr>
        <dsp:cNvPr id="0" name=""/>
        <dsp:cNvSpPr/>
      </dsp:nvSpPr>
      <dsp:spPr>
        <a:xfrm>
          <a:off x="700861" y="4004895"/>
          <a:ext cx="1905568" cy="11433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i="0" kern="1200">
              <a:effectLst/>
              <a:latin typeface="Segoe UI" panose="020B0502040204020203" pitchFamily="34" charset="0"/>
            </a:rPr>
            <a:t>One-click solution deployment</a:t>
          </a:r>
          <a:endParaRPr lang="en-US" sz="2100" kern="1200"/>
        </a:p>
      </dsp:txBody>
      <dsp:txXfrm>
        <a:off x="700861" y="4004895"/>
        <a:ext cx="1905568" cy="1143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F2F15-EA08-475B-A375-6E6F5A47EC44}">
      <dsp:nvSpPr>
        <dsp:cNvPr id="0" name=""/>
        <dsp:cNvSpPr/>
      </dsp:nvSpPr>
      <dsp:spPr>
        <a:xfrm>
          <a:off x="3375" y="874713"/>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ow-code and no-code within Teams.</a:t>
          </a:r>
        </a:p>
      </dsp:txBody>
      <dsp:txXfrm>
        <a:off x="3375" y="874713"/>
        <a:ext cx="2677982" cy="1606789"/>
      </dsp:txXfrm>
    </dsp:sp>
    <dsp:sp modelId="{8379A563-B112-420C-B914-71382929ABAD}">
      <dsp:nvSpPr>
        <dsp:cNvPr id="0" name=""/>
        <dsp:cNvSpPr/>
      </dsp:nvSpPr>
      <dsp:spPr>
        <a:xfrm>
          <a:off x="2949156" y="874713"/>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Core data capabilities</a:t>
          </a:r>
        </a:p>
      </dsp:txBody>
      <dsp:txXfrm>
        <a:off x="2949156" y="874713"/>
        <a:ext cx="2677982" cy="1606789"/>
      </dsp:txXfrm>
    </dsp:sp>
    <dsp:sp modelId="{488D62E9-86BB-41D4-8D30-ECDCCCB3272C}">
      <dsp:nvSpPr>
        <dsp:cNvPr id="0" name=""/>
        <dsp:cNvSpPr/>
      </dsp:nvSpPr>
      <dsp:spPr>
        <a:xfrm>
          <a:off x="5894936" y="874713"/>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Storage and rich data types</a:t>
          </a:r>
        </a:p>
      </dsp:txBody>
      <dsp:txXfrm>
        <a:off x="5894936" y="874713"/>
        <a:ext cx="2677982" cy="1606789"/>
      </dsp:txXfrm>
    </dsp:sp>
    <dsp:sp modelId="{6978515E-0ACD-4EEB-99CB-FE8EFDE4718A}">
      <dsp:nvSpPr>
        <dsp:cNvPr id="0" name=""/>
        <dsp:cNvSpPr/>
      </dsp:nvSpPr>
      <dsp:spPr>
        <a:xfrm>
          <a:off x="8840717" y="874713"/>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New visual editor</a:t>
          </a:r>
        </a:p>
      </dsp:txBody>
      <dsp:txXfrm>
        <a:off x="8840717" y="874713"/>
        <a:ext cx="2677982" cy="1606789"/>
      </dsp:txXfrm>
    </dsp:sp>
    <dsp:sp modelId="{5ADFD843-4156-4D1E-96A0-70E571304E85}">
      <dsp:nvSpPr>
        <dsp:cNvPr id="0" name=""/>
        <dsp:cNvSpPr/>
      </dsp:nvSpPr>
      <dsp:spPr>
        <a:xfrm>
          <a:off x="3375" y="2749301"/>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Enterprise security</a:t>
          </a:r>
        </a:p>
      </dsp:txBody>
      <dsp:txXfrm>
        <a:off x="3375" y="2749301"/>
        <a:ext cx="2677982" cy="1606789"/>
      </dsp:txXfrm>
    </dsp:sp>
    <dsp:sp modelId="{AF9D0554-4067-480C-8161-EEBF072B4310}">
      <dsp:nvSpPr>
        <dsp:cNvPr id="0" name=""/>
        <dsp:cNvSpPr/>
      </dsp:nvSpPr>
      <dsp:spPr>
        <a:xfrm>
          <a:off x="2949156" y="2749301"/>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Teams licenses.</a:t>
          </a:r>
        </a:p>
      </dsp:txBody>
      <dsp:txXfrm>
        <a:off x="2949156" y="2749301"/>
        <a:ext cx="2677982" cy="1606789"/>
      </dsp:txXfrm>
    </dsp:sp>
    <dsp:sp modelId="{D9AE150E-F36A-4100-99F9-8B661F7F9169}">
      <dsp:nvSpPr>
        <dsp:cNvPr id="0" name=""/>
        <dsp:cNvSpPr/>
      </dsp:nvSpPr>
      <dsp:spPr>
        <a:xfrm>
          <a:off x="5894936" y="2749301"/>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2 GB per team, and support for up to 1 million rows</a:t>
          </a:r>
        </a:p>
      </dsp:txBody>
      <dsp:txXfrm>
        <a:off x="5894936" y="2749301"/>
        <a:ext cx="2677982" cy="1606789"/>
      </dsp:txXfrm>
    </dsp:sp>
    <dsp:sp modelId="{7EE24D44-3172-4D58-941C-5546DE6EDD7F}">
      <dsp:nvSpPr>
        <dsp:cNvPr id="0" name=""/>
        <dsp:cNvSpPr/>
      </dsp:nvSpPr>
      <dsp:spPr>
        <a:xfrm>
          <a:off x="8840717" y="2749301"/>
          <a:ext cx="2677982" cy="1606789"/>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omotion to </a:t>
          </a:r>
          <a:r>
            <a:rPr lang="en-US" sz="2300" kern="1200" err="1"/>
            <a:t>Dataverse</a:t>
          </a:r>
          <a:r>
            <a:rPr lang="en-US" sz="2300" kern="1200"/>
            <a:t> (CDS).</a:t>
          </a:r>
        </a:p>
      </dsp:txBody>
      <dsp:txXfrm>
        <a:off x="8840717" y="2749301"/>
        <a:ext cx="2677982" cy="16067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6DD61-D55A-44F6-AD69-5B778359480C}">
      <dsp:nvSpPr>
        <dsp:cNvPr id="0" name=""/>
        <dsp:cNvSpPr/>
      </dsp:nvSpPr>
      <dsp:spPr>
        <a:xfrm>
          <a:off x="864155" y="0"/>
          <a:ext cx="9793763" cy="5303838"/>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0A5357D-BC85-42CA-8D17-0796671D41B8}">
      <dsp:nvSpPr>
        <dsp:cNvPr id="0" name=""/>
        <dsp:cNvSpPr/>
      </dsp:nvSpPr>
      <dsp:spPr>
        <a:xfrm>
          <a:off x="1274" y="1591151"/>
          <a:ext cx="2752241" cy="212153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Access</a:t>
          </a:r>
        </a:p>
      </dsp:txBody>
      <dsp:txXfrm>
        <a:off x="104839" y="1694716"/>
        <a:ext cx="2545111" cy="1914405"/>
      </dsp:txXfrm>
    </dsp:sp>
    <dsp:sp modelId="{88A775D9-D616-4973-A867-82EC9625AFD7}">
      <dsp:nvSpPr>
        <dsp:cNvPr id="0" name=""/>
        <dsp:cNvSpPr/>
      </dsp:nvSpPr>
      <dsp:spPr>
        <a:xfrm>
          <a:off x="2923702" y="1591151"/>
          <a:ext cx="2752241" cy="212153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Coding</a:t>
          </a:r>
        </a:p>
      </dsp:txBody>
      <dsp:txXfrm>
        <a:off x="3027267" y="1694716"/>
        <a:ext cx="2545111" cy="1914405"/>
      </dsp:txXfrm>
    </dsp:sp>
    <dsp:sp modelId="{EC0B7E4B-C138-40E8-9CDA-F3AF4B615605}">
      <dsp:nvSpPr>
        <dsp:cNvPr id="0" name=""/>
        <dsp:cNvSpPr/>
      </dsp:nvSpPr>
      <dsp:spPr>
        <a:xfrm>
          <a:off x="5846130" y="1591151"/>
          <a:ext cx="2752241" cy="212153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Data limitations</a:t>
          </a:r>
        </a:p>
      </dsp:txBody>
      <dsp:txXfrm>
        <a:off x="5949695" y="1694716"/>
        <a:ext cx="2545111" cy="1914405"/>
      </dsp:txXfrm>
    </dsp:sp>
    <dsp:sp modelId="{103881B5-9AA9-42C2-8369-496B37A3A05B}">
      <dsp:nvSpPr>
        <dsp:cNvPr id="0" name=""/>
        <dsp:cNvSpPr/>
      </dsp:nvSpPr>
      <dsp:spPr>
        <a:xfrm>
          <a:off x="8768559" y="1591151"/>
          <a:ext cx="2752241" cy="212153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Environment limitations</a:t>
          </a:r>
        </a:p>
      </dsp:txBody>
      <dsp:txXfrm>
        <a:off x="8872124" y="1694716"/>
        <a:ext cx="2545111" cy="19144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6D10B0-CBFF-4CB5-9827-F142E66CFB7D}">
      <dsp:nvSpPr>
        <dsp:cNvPr id="0" name=""/>
        <dsp:cNvSpPr/>
      </dsp:nvSpPr>
      <dsp:spPr>
        <a:xfrm>
          <a:off x="0" y="40121"/>
          <a:ext cx="11292408" cy="1731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a:t>Containers for storing content within a SharePoint site</a:t>
          </a:r>
        </a:p>
      </dsp:txBody>
      <dsp:txXfrm>
        <a:off x="84530" y="124651"/>
        <a:ext cx="11123348" cy="1562540"/>
      </dsp:txXfrm>
    </dsp:sp>
    <dsp:sp modelId="{0E6CBB66-02A0-4082-85BB-29014EB4807E}">
      <dsp:nvSpPr>
        <dsp:cNvPr id="0" name=""/>
        <dsp:cNvSpPr/>
      </dsp:nvSpPr>
      <dsp:spPr>
        <a:xfrm>
          <a:off x="0" y="1886921"/>
          <a:ext cx="11292408" cy="1731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a:t>Lists organize content in the form of items (with or without attachments)</a:t>
          </a:r>
        </a:p>
      </dsp:txBody>
      <dsp:txXfrm>
        <a:off x="84530" y="1971451"/>
        <a:ext cx="11123348" cy="1562540"/>
      </dsp:txXfrm>
    </dsp:sp>
    <dsp:sp modelId="{32A00A47-DD48-4B3B-BCC4-3E121FAAB8C7}">
      <dsp:nvSpPr>
        <dsp:cNvPr id="0" name=""/>
        <dsp:cNvSpPr/>
      </dsp:nvSpPr>
      <dsp:spPr>
        <a:xfrm>
          <a:off x="0" y="3733721"/>
          <a:ext cx="11292408" cy="17316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a:t>Libraries organize content in the form of documents or files</a:t>
          </a:r>
        </a:p>
      </dsp:txBody>
      <dsp:txXfrm>
        <a:off x="84530" y="3818251"/>
        <a:ext cx="11123348" cy="156254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26/2021 6:25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26/2021 6:25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support.microsoft.com/en-us/office/introduction-to-lists-0a1c3ace-def0-44af-b225-cfa8d92c52d7"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powerapps/teams/use-sample-apps-from-teams-store"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docs.microsoft.com/en-us/powerapps/teams/issue-reporting" TargetMode="External"/><Relationship Id="rId5" Type="http://schemas.openxmlformats.org/officeDocument/2006/relationships/hyperlink" Target="https://docs.microsoft.com/en-us/powerapps/teams/inspection" TargetMode="External"/><Relationship Id="rId4" Type="http://schemas.openxmlformats.org/officeDocument/2006/relationships/hyperlink" Target="https://docs.microsoft.com/en-us/powerapps/teams/employee-idea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powerapps/teams/create-first-app"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powerapps/teams/embed-teams-tab"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docs.microsoft.com/en-us/powerapps/teams/embed-teams-app"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D0596E5-6523-4DD8-A9ED-0418BD42519C}" type="datetime8">
              <a:rPr lang="en-US" smtClean="0"/>
              <a:t>10/26/2021 6:2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indent="0">
              <a:buFontTx/>
              <a:buNone/>
            </a:pPr>
            <a:r>
              <a:rPr lang="en-US" b="1"/>
              <a:t>Discuss:</a:t>
            </a:r>
          </a:p>
          <a:p>
            <a:pPr marL="0" indent="0">
              <a:buFontTx/>
              <a:buNone/>
            </a:pPr>
            <a:endParaRPr lang="en-US"/>
          </a:p>
          <a:p>
            <a:pPr marL="0" indent="0">
              <a:buFontTx/>
              <a:buNone/>
            </a:pPr>
            <a:r>
              <a:rPr lang="en-US"/>
              <a:t>To access go to: https://make.powerapps.com</a:t>
            </a:r>
          </a:p>
          <a:p>
            <a:pPr marL="0" indent="0">
              <a:buFontTx/>
              <a:buNone/>
            </a:pPr>
            <a:endParaRPr lang="en-US"/>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a:solidFill>
                  <a:schemeClr val="tx1">
                    <a:lumMod val="85000"/>
                    <a:lumOff val="15000"/>
                  </a:schemeClr>
                </a:solidFill>
                <a:latin typeface="Segoe UI Light" panose="020B0502040204020203" pitchFamily="34" charset="0"/>
                <a:cs typeface="Segoe UI Light" panose="020B0502040204020203" pitchFamily="34" charset="0"/>
              </a:rPr>
              <a:t>Craft forms and screens in a visual designer that helps you see exactly what you’ll get</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a:solidFill>
                  <a:schemeClr val="tx1">
                    <a:lumMod val="85000"/>
                    <a:lumOff val="15000"/>
                  </a:schemeClr>
                </a:solidFill>
                <a:latin typeface="Segoe UI Light" panose="020B0502040204020203" pitchFamily="34" charset="0"/>
                <a:cs typeface="Segoe UI Light" panose="020B0502040204020203" pitchFamily="34" charset="0"/>
              </a:rPr>
              <a:t>Take advantage of device capabilities like cameras, GPS, and pen controls </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a:solidFill>
                  <a:schemeClr val="tx1">
                    <a:lumMod val="85000"/>
                    <a:lumOff val="15000"/>
                  </a:schemeClr>
                </a:solidFill>
                <a:latin typeface="Segoe UI Light" panose="020B0502040204020203" pitchFamily="34" charset="0"/>
                <a:cs typeface="Segoe UI Light" panose="020B0502040204020203" pitchFamily="34" charset="0"/>
              </a:rPr>
              <a:t>Build business logic into your apps with an Excel-inspired expression language</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a:solidFill>
                  <a:schemeClr val="tx1">
                    <a:lumMod val="85000"/>
                    <a:lumOff val="15000"/>
                  </a:schemeClr>
                </a:solidFill>
                <a:latin typeface="Segoe UI Light" panose="020B0502040204020203" pitchFamily="34" charset="0"/>
                <a:cs typeface="Segoe UI Light" panose="020B0502040204020203" pitchFamily="34" charset="0"/>
              </a:rPr>
              <a:t>Connect multiple existing data sources or create your own data to power your app</a:t>
            </a:r>
          </a:p>
          <a:p>
            <a:pPr marL="171450" marR="0" lvl="0" indent="-171450" algn="l" defTabSz="932742" rtl="0" eaLnBrk="1" fontAlgn="auto" latinLnBrk="0" hangingPunct="1">
              <a:lnSpc>
                <a:spcPct val="90000"/>
              </a:lnSpc>
              <a:spcBef>
                <a:spcPts val="0"/>
              </a:spcBef>
              <a:spcAft>
                <a:spcPts val="340"/>
              </a:spcAft>
              <a:buClrTx/>
              <a:buSzTx/>
              <a:buFontTx/>
              <a:buChar char="-"/>
              <a:tabLst/>
              <a:defRPr/>
            </a:pPr>
            <a:endParaRPr lang="en-US" sz="900">
              <a:solidFill>
                <a:schemeClr val="tx1">
                  <a:lumMod val="85000"/>
                  <a:lumOff val="15000"/>
                </a:schemeClr>
              </a:solidFill>
              <a:latin typeface="Segoe UI Light" panose="020B0502040204020203" pitchFamily="34" charset="0"/>
              <a:cs typeface="Segoe UI Light" panose="020B0502040204020203" pitchFamily="34" charset="0"/>
            </a:endParaRPr>
          </a:p>
          <a:p>
            <a:pPr marL="0" indent="0">
              <a:buFontTx/>
              <a:buNone/>
            </a:pPr>
            <a:r>
              <a:rPr lang="en-US" b="1"/>
              <a:t>Mention:</a:t>
            </a:r>
          </a:p>
          <a:p>
            <a:pPr marL="0" indent="0">
              <a:buFontTx/>
              <a:buNone/>
            </a:pPr>
            <a:endParaRPr lang="en-US"/>
          </a:p>
          <a:p>
            <a:r>
              <a:rPr lang="en-US"/>
              <a:t>Building useful line-of-business apps without needing to</a:t>
            </a:r>
            <a:r>
              <a:rPr lang="en-US" baseline="0"/>
              <a:t> write code is, some of the key highlights through the Power Apps Studio :  </a:t>
            </a:r>
          </a:p>
          <a:p>
            <a:endParaRPr lang="en-US" baseline="0"/>
          </a:p>
          <a:p>
            <a:pPr marL="171450" indent="-171450">
              <a:buFontTx/>
              <a:buChar char="-"/>
            </a:pPr>
            <a:r>
              <a:rPr lang="en-US" baseline="0"/>
              <a:t>A visual designer with a familiar user experience that enable you to build the screens you need to power your App. </a:t>
            </a:r>
          </a:p>
          <a:p>
            <a:pPr marL="171450" indent="-171450">
              <a:buFontTx/>
              <a:buChar char="-"/>
            </a:pPr>
            <a:r>
              <a:rPr lang="en-US" baseline="0"/>
              <a:t>You can build validation rules and business logic right into your screen using an Excel-function inspired expression language.</a:t>
            </a:r>
          </a:p>
          <a:p>
            <a:pPr marL="171450" indent="-171450">
              <a:buFontTx/>
              <a:buChar char="-"/>
            </a:pPr>
            <a:r>
              <a:rPr lang="en-US" baseline="0"/>
              <a:t>Take advance of the devoice specific sensor capabilities like cameras, GPS and Pen Controls to improve context awareness of the app and build even more powerful apps</a:t>
            </a:r>
          </a:p>
          <a:p>
            <a:pPr marL="0" indent="0">
              <a:buFontTx/>
              <a:buNone/>
            </a:pPr>
            <a:endParaRPr lang="en-US"/>
          </a:p>
        </p:txBody>
      </p:sp>
      <p:sp>
        <p:nvSpPr>
          <p:cNvPr id="5" name="Date Placeholder 4"/>
          <p:cNvSpPr>
            <a:spLocks noGrp="1"/>
          </p:cNvSpPr>
          <p:nvPr>
            <p:ph type="dt" idx="11"/>
          </p:nvPr>
        </p:nvSpPr>
        <p:spPr/>
        <p:txBody>
          <a:bodyPr/>
          <a:lstStyle/>
          <a:p>
            <a:fld id="{E74353ED-ACB2-44BF-A903-985B0AF962B7}" type="datetime1">
              <a:rPr lang="en-US" smtClean="0"/>
              <a:t>10/26/2021</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713560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228600" indent="-228600">
              <a:buFont typeface="+mj-lt"/>
              <a:buAutoNum type="arabicPeriod"/>
            </a:pPr>
            <a:r>
              <a:rPr lang="en-US" sz="900" dirty="0"/>
              <a:t>Left hand navigation</a:t>
            </a:r>
          </a:p>
          <a:p>
            <a:pPr marL="228600" indent="-228600">
              <a:buFont typeface="+mj-lt"/>
              <a:buAutoNum type="arabicPeriod"/>
            </a:pPr>
            <a:r>
              <a:rPr lang="en-US" sz="900" dirty="0"/>
              <a:t>Content pane</a:t>
            </a:r>
          </a:p>
          <a:p>
            <a:pPr marL="228600" indent="-228600">
              <a:buFont typeface="+mj-lt"/>
              <a:buAutoNum type="arabicPeriod"/>
            </a:pPr>
            <a:r>
              <a:rPr lang="en-US" sz="900" dirty="0"/>
              <a:t>Right hand pane (options, data sources, etc.)</a:t>
            </a:r>
          </a:p>
          <a:p>
            <a:pPr marL="228600" indent="-228600">
              <a:buFont typeface="+mj-lt"/>
              <a:buAutoNum type="arabicPeriod"/>
            </a:pPr>
            <a:r>
              <a:rPr lang="en-US" sz="900" dirty="0"/>
              <a:t>Dropdown list of properties</a:t>
            </a:r>
          </a:p>
          <a:p>
            <a:pPr marL="228600" indent="-228600">
              <a:buFont typeface="+mj-lt"/>
              <a:buAutoNum type="arabicPeriod"/>
            </a:pPr>
            <a:r>
              <a:rPr lang="en-US" sz="900" dirty="0"/>
              <a:t>Formula bar for selected property</a:t>
            </a:r>
          </a:p>
          <a:p>
            <a:pPr marL="228600" indent="-228600">
              <a:buFont typeface="+mj-lt"/>
              <a:buAutoNum type="arabicPeriod"/>
            </a:pPr>
            <a:r>
              <a:rPr lang="en-US" sz="900" dirty="0"/>
              <a:t>Ribbon</a:t>
            </a:r>
          </a:p>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endParaRPr lang="en-US" b="1" dirty="0">
              <a:ea typeface="Segoe UI" panose="020B0502040204020203" pitchFamily="34" charset="0"/>
            </a:endParaRPr>
          </a:p>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r>
              <a:rPr lang="en-US" b="1" dirty="0">
                <a:ea typeface="Segoe UI" panose="020B0502040204020203" pitchFamily="34" charset="0"/>
              </a:rPr>
              <a:t>For more information </a:t>
            </a:r>
            <a:r>
              <a:rPr lang="en-US" dirty="0">
                <a:ea typeface="Segoe UI" panose="020B0502040204020203" pitchFamily="34" charset="0"/>
              </a:rPr>
              <a:t>on Power Apps Studio introduction, see: </a:t>
            </a:r>
            <a:r>
              <a:rPr lang="en-US" u="sng" dirty="0">
                <a:ea typeface="Segoe UI" panose="020B0502040204020203" pitchFamily="34" charset="0"/>
              </a:rPr>
              <a:t>https://powerapps.microsoft.com/en-us/guided-learning/learning-powerapps-parts/</a:t>
            </a:r>
          </a:p>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13</a:t>
            </a:fld>
            <a:endParaRPr lang="en-US"/>
          </a:p>
        </p:txBody>
      </p:sp>
    </p:spTree>
    <p:extLst>
      <p:ext uri="{BB962C8B-B14F-4D97-AF65-F5344CB8AC3E}">
        <p14:creationId xmlns:p14="http://schemas.microsoft.com/office/powerpoint/2010/main" val="34788436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AF7A91F6-C84C-D54B-9DE1-2A2DF49EE04F}" type="slidenum">
              <a:rPr lang="en-US" smtClean="0"/>
              <a:pPr/>
              <a:t>14</a:t>
            </a:fld>
            <a:endParaRPr lang="en-US"/>
          </a:p>
        </p:txBody>
      </p:sp>
    </p:spTree>
    <p:extLst>
      <p:ext uri="{BB962C8B-B14F-4D97-AF65-F5344CB8AC3E}">
        <p14:creationId xmlns:p14="http://schemas.microsoft.com/office/powerpoint/2010/main" val="2898722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indent="0">
              <a:buNone/>
            </a:pPr>
            <a:r>
              <a:rPr lang="en-US"/>
              <a:t>Create an app from template uses predesigned templates to get the app creator</a:t>
            </a:r>
            <a:r>
              <a:rPr lang="en-US" baseline="0"/>
              <a:t> started building an application.</a:t>
            </a:r>
            <a:endParaRPr lang="en-US"/>
          </a:p>
          <a:p>
            <a:pPr marL="0" indent="0">
              <a:buNone/>
            </a:pPr>
            <a:endParaRPr lang="en-US"/>
          </a:p>
          <a:p>
            <a:pPr marL="0" indent="0">
              <a:buNone/>
            </a:pPr>
            <a:r>
              <a:rPr lang="en-US"/>
              <a:t>Create an app from data allows the app creator to connect to a predefined</a:t>
            </a:r>
            <a:r>
              <a:rPr lang="en-US" baseline="0"/>
              <a:t> set of connectors (SharePoint, SQL Server, Oracle, Salesforce, Excel files on multiple cloud services, and more).  At the time of writing only phone layouts can be used for </a:t>
            </a:r>
            <a:endParaRPr lang="en-US"/>
          </a:p>
          <a:p>
            <a:pPr marL="0" indent="0">
              <a:buNone/>
            </a:pPr>
            <a:endParaRPr lang="en-US"/>
          </a:p>
          <a:p>
            <a:pPr marL="0" indent="0">
              <a:buNone/>
            </a:pPr>
            <a:r>
              <a:rPr lang="en-US"/>
              <a:t>Create an app from scratch</a:t>
            </a:r>
            <a:r>
              <a:rPr lang="en-US" baseline="0"/>
              <a:t> allows the app creator to design and connect to data as they see fit.</a:t>
            </a:r>
            <a:endParaRPr lang="en-US"/>
          </a:p>
          <a:p>
            <a:pPr marL="0" indent="0">
              <a:buNone/>
            </a:pPr>
            <a:endParaRPr lang="en-US"/>
          </a:p>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b="1"/>
              <a:t>For more</a:t>
            </a:r>
            <a:r>
              <a:rPr lang="en-US" b="1" baseline="0"/>
              <a:t> information</a:t>
            </a:r>
            <a:r>
              <a:rPr lang="en-US" baseline="0"/>
              <a:t> on Create an app from a template, see: </a:t>
            </a:r>
            <a:r>
              <a:rPr lang="en-US"/>
              <a:t>https://powerapps.microsoft.com/en-us/tutorials/get-started-test-drive/</a:t>
            </a:r>
          </a:p>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b="1"/>
              <a:t>For more</a:t>
            </a:r>
            <a:r>
              <a:rPr lang="en-US" b="1" baseline="0"/>
              <a:t> information</a:t>
            </a:r>
            <a:r>
              <a:rPr lang="en-US" baseline="0"/>
              <a:t> on Create an app from data, see: </a:t>
            </a:r>
            <a:r>
              <a:rPr lang="en-US"/>
              <a:t>https://powerapps.microsoft.com/en-us/guided-learning/learning-create-first-app-powerapps/</a:t>
            </a:r>
          </a:p>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b="1"/>
              <a:t>For more</a:t>
            </a:r>
            <a:r>
              <a:rPr lang="en-US" b="1" baseline="0"/>
              <a:t> information</a:t>
            </a:r>
            <a:r>
              <a:rPr lang="en-US" baseline="0"/>
              <a:t> on Create an app from scratch, see: </a:t>
            </a:r>
            <a:r>
              <a:rPr lang="en-US"/>
              <a:t>https://powerapps.microsoft.com/en-us/tutorials/get-started-create-from-blank/</a:t>
            </a:r>
          </a:p>
          <a:p>
            <a:pPr marL="0" marR="0" lvl="0" indent="0" algn="l" defTabSz="914354" rtl="0" eaLnBrk="1" fontAlgn="auto" latinLnBrk="0" hangingPunct="1">
              <a:lnSpc>
                <a:spcPct val="114000"/>
              </a:lnSpc>
              <a:spcBef>
                <a:spcPts val="0"/>
              </a:spcBef>
              <a:spcAft>
                <a:spcPts val="0"/>
              </a:spcAft>
              <a:buClrTx/>
              <a:buSzPct val="116000"/>
              <a:buFont typeface="Arial" panose="020B0604020202020204" pitchFamily="34" charset="0"/>
              <a:buNone/>
              <a:tabLst/>
              <a:defRPr/>
            </a:pPr>
            <a:endParaRPr lang="en-US"/>
          </a:p>
        </p:txBody>
      </p:sp>
      <p:sp>
        <p:nvSpPr>
          <p:cNvPr id="4" name="Slide Number Placeholder 3"/>
          <p:cNvSpPr>
            <a:spLocks noGrp="1"/>
          </p:cNvSpPr>
          <p:nvPr>
            <p:ph type="sldNum" sz="quarter" idx="10"/>
          </p:nvPr>
        </p:nvSpPr>
        <p:spPr/>
        <p:txBody>
          <a:bodyPr/>
          <a:lstStyle/>
          <a:p>
            <a:fld id="{1489DB6A-E92B-415B-AFB4-9C72D4A9006D}" type="slidenum">
              <a:rPr lang="en-US" smtClean="0"/>
              <a:t>15</a:t>
            </a:fld>
            <a:endParaRPr lang="en-US"/>
          </a:p>
        </p:txBody>
      </p:sp>
    </p:spTree>
    <p:extLst>
      <p:ext uri="{BB962C8B-B14F-4D97-AF65-F5344CB8AC3E}">
        <p14:creationId xmlns:p14="http://schemas.microsoft.com/office/powerpoint/2010/main" val="38667100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iscuss:</a:t>
            </a:r>
          </a:p>
          <a:p>
            <a:endParaRPr lang="en-US"/>
          </a:p>
          <a:p>
            <a:pPr marL="171450" indent="-171450">
              <a:buFontTx/>
              <a:buChar char="-"/>
            </a:pPr>
            <a:r>
              <a:rPr lang="en-US"/>
              <a:t>Power Apps assumes mobile-first development, and as such, asks you to choose between an app optimized for phone or tablet screen size, and then orientation.</a:t>
            </a:r>
          </a:p>
          <a:p>
            <a:pPr marL="171450" indent="-171450">
              <a:buFontTx/>
              <a:buChar char="-"/>
            </a:pPr>
            <a:r>
              <a:rPr lang="en-US"/>
              <a:t>Once you make this choice, you cannot go back and change it, so it is a very important first decision. It is recommended to start with a phone layout, as the images, fonts, and UI controls will scale up when viewed on a tablet and look acceptable. If you start with Tablet, and then view on a phone, fonts and UI elements will shrink proportionately on the phone and may be too small to read effectively.</a:t>
            </a:r>
          </a:p>
          <a:p>
            <a:pPr marL="171450" indent="-171450">
              <a:buFontTx/>
              <a:buChar char="-"/>
            </a:pPr>
            <a:r>
              <a:rPr lang="en-US"/>
              <a:t>You can also choose the orientation of the app, and whether the app is locked to that orientation and aspect ratio.</a:t>
            </a:r>
          </a:p>
          <a:p>
            <a:pPr marL="171450" indent="-171450">
              <a:buFontTx/>
              <a:buChar char="-"/>
            </a:pPr>
            <a:r>
              <a:rPr lang="en-US"/>
              <a:t>Apps can adjust UI controls and elements to changing orientations by using formulas based on the ActiveScreen.Width or ActiveScreen.Height calculation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26/2021 6: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1085796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example shows us the properties for a control or screen in the dropdown on the left. On the right, we can see the associated formula bar for that property. In this example, we’ve placed a Navigate() formula for the OnSelect event/property of a Button control, telling it to navigate to the “Planners” screen.</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0/26/2021</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737566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r>
              <a:rPr lang="en-US">
                <a:hlinkClick r:id="rId3"/>
              </a:rPr>
              <a:t>Introduction to lists - SharePoint </a:t>
            </a:r>
            <a:r>
              <a:rPr lang="en-US" baseline="0">
                <a:hlinkClick r:id="rId3"/>
              </a:rPr>
              <a:t>(</a:t>
            </a:r>
            <a:r>
              <a:rPr lang="en-US">
                <a:hlinkClick r:id="rId3"/>
              </a:rPr>
              <a:t>microsoft.com)</a:t>
            </a:r>
            <a:endParaRPr lang="en-US"/>
          </a:p>
        </p:txBody>
      </p:sp>
      <p:sp>
        <p:nvSpPr>
          <p:cNvPr id="4" name="Slide Number Placeholder 3"/>
          <p:cNvSpPr>
            <a:spLocks noGrp="1"/>
          </p:cNvSpPr>
          <p:nvPr>
            <p:ph type="sldNum" sz="quarter" idx="10"/>
          </p:nvPr>
        </p:nvSpPr>
        <p:spPr/>
        <p:txBody>
          <a:bodyPr/>
          <a:lstStyle/>
          <a:p>
            <a:fld id="{1489DB6A-E92B-415B-AFB4-9C72D4A9006D}" type="slidenum">
              <a:rPr lang="en-US" smtClean="0"/>
              <a:t>18</a:t>
            </a:fld>
            <a:endParaRPr lang="en-US"/>
          </a:p>
        </p:txBody>
      </p:sp>
    </p:spTree>
    <p:extLst>
      <p:ext uri="{BB962C8B-B14F-4D97-AF65-F5344CB8AC3E}">
        <p14:creationId xmlns:p14="http://schemas.microsoft.com/office/powerpoint/2010/main" val="1718092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lab file M7_PowerApps_Introduction to Power Apps.docx and complete all tasks. </a:t>
            </a:r>
            <a:endParaRPr lang="de-AT" dirty="0">
              <a:ea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5043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0/26/2021 6:2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0</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7187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26/2021 6: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211846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dirty="0"/>
              <a:t>MSFT PowerApps</a:t>
            </a:r>
            <a:r>
              <a:rPr lang="en-US" baseline="0" dirty="0"/>
              <a:t> is a SaaS service for creating and using custom customer business apps across different mobile and web platforms</a:t>
            </a:r>
          </a:p>
          <a:p>
            <a:endParaRPr lang="en-US" dirty="0"/>
          </a:p>
          <a:p>
            <a:pPr marL="171450" indent="-171450">
              <a:buFont typeface="Arial" panose="020B0604020202020204" pitchFamily="34" charset="0"/>
              <a:buChar char="•"/>
            </a:pPr>
            <a:r>
              <a:rPr lang="en-US" dirty="0"/>
              <a:t>It can</a:t>
            </a:r>
            <a:r>
              <a:rPr lang="en-US" baseline="0" dirty="0"/>
              <a:t> connect to existing enterprise systems and data sources you already have allows you to build LOB apps that utilizing the investment you’ve already made in your existing enterprise systems, without have to duplicate data and thus keeping a ‘clean’ single version ‘of the truth’ </a:t>
            </a:r>
          </a:p>
          <a:p>
            <a:pPr marL="171450" indent="-171450">
              <a:buFont typeface="Arial" panose="020B0604020202020204" pitchFamily="34" charset="0"/>
              <a:buChar char="•"/>
            </a:pPr>
            <a:r>
              <a:rPr lang="en-US" dirty="0"/>
              <a:t>PowerApps enables</a:t>
            </a:r>
            <a:r>
              <a:rPr lang="en-US" baseline="0" dirty="0"/>
              <a:t> you to build Apps without having to write code. It enables you to build Apps declaratively. </a:t>
            </a:r>
            <a:r>
              <a:rPr lang="en-US" dirty="0"/>
              <a:t>With PowerApps, business experts can work more efficiently together with their counterparts in IT and consulting partners, literally on the same page in a visual designer—or solve problems on their own. Through an integration with Microsoft Flow, you can trigger flows right</a:t>
            </a:r>
            <a:r>
              <a:rPr lang="en-US" baseline="0" dirty="0"/>
              <a:t> </a:t>
            </a:r>
            <a:r>
              <a:rPr lang="en-US" dirty="0"/>
              <a:t>from within apps.</a:t>
            </a:r>
            <a:endParaRPr lang="en-US" baseline="0" dirty="0"/>
          </a:p>
          <a:p>
            <a:pPr marL="171450" indent="-171450">
              <a:buFont typeface="Arial" panose="020B0604020202020204" pitchFamily="34" charset="0"/>
              <a:buChar char="•"/>
            </a:pPr>
            <a:r>
              <a:rPr lang="en-US" dirty="0"/>
              <a:t>The Apps can be published instantly to co-workers across web, tablets and mobile devices for easy</a:t>
            </a:r>
            <a:r>
              <a:rPr lang="en-US" baseline="0" dirty="0"/>
              <a:t> sharing and consumption within your organization. </a:t>
            </a:r>
          </a:p>
          <a:p>
            <a:pPr marL="171450" indent="-171450">
              <a:buFont typeface="Arial" panose="020B0604020202020204" pitchFamily="34" charset="0"/>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6/20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9131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0/26/2021</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76053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171717"/>
                </a:solidFill>
                <a:effectLst/>
                <a:latin typeface="Segoe UI" panose="020B0502040204020203" pitchFamily="34" charset="0"/>
              </a:rPr>
              <a:t>Discus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err="1">
                <a:solidFill>
                  <a:srgbClr val="171717"/>
                </a:solidFill>
                <a:effectLst/>
                <a:latin typeface="Segoe UI" panose="020B0502040204020203" pitchFamily="34" charset="0"/>
              </a:rPr>
              <a:t>Dataverse</a:t>
            </a:r>
            <a:r>
              <a:rPr lang="en-US" b="0" i="0" dirty="0">
                <a:solidFill>
                  <a:srgbClr val="171717"/>
                </a:solidFill>
                <a:effectLst/>
                <a:latin typeface="Segoe UI" panose="020B0502040204020203" pitchFamily="34" charset="0"/>
              </a:rPr>
              <a:t> for Teams delivers built-i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i="0" dirty="0">
              <a:solidFill>
                <a:srgbClr val="171717"/>
              </a:solidFill>
              <a:effectLst/>
              <a:latin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Low-code data platform for Microsoft Team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Relational data storage, and rich data type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Relational</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File + Image</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Find, Filter, Sort</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Basic Datatype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Common Data Model (Coming So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Enterprise-grade governance</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Uses Environments (Capacity limit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Uses Security (Role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Capacity enforcement (80% warning, 100% No new app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Promote environment to CD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i="0" dirty="0">
                <a:solidFill>
                  <a:srgbClr val="171717"/>
                </a:solidFill>
                <a:effectLst/>
                <a:latin typeface="Segoe UI" panose="020B0502040204020203" pitchFamily="34" charset="0"/>
              </a:rPr>
              <a:t>One-click solution deployment (</a:t>
            </a:r>
            <a:r>
              <a:rPr lang="en-US" dirty="0">
                <a:hlinkClick r:id="rId3"/>
              </a:rPr>
              <a:t>https://docs.microsoft.com/en-us/powerapps/teams/use-sample-apps-from-teams-store</a:t>
            </a:r>
            <a:r>
              <a:rPr lang="en-US" dirty="0"/>
              <a:t>)</a:t>
            </a:r>
            <a:endParaRPr lang="en-US" b="0" i="0" dirty="0">
              <a:solidFill>
                <a:srgbClr val="171717"/>
              </a:solidFill>
              <a:effectLst/>
              <a:latin typeface="Segoe UI" panose="020B0502040204020203" pitchFamily="34" charset="0"/>
            </a:endParaRP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u="none" strike="noStrike" dirty="0">
                <a:effectLst/>
                <a:hlinkClick r:id="rId4"/>
              </a:rPr>
              <a:t>Employee ideas</a:t>
            </a:r>
            <a:r>
              <a:rPr lang="en-US" u="none" strike="noStrike" dirty="0">
                <a:effectLst/>
              </a:rPr>
              <a:t> </a:t>
            </a:r>
            <a:r>
              <a:rPr lang="en-US" dirty="0">
                <a:effectLst/>
              </a:rPr>
              <a:t>Manager and employee apps for campaigns and idea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u="none" strike="noStrike" dirty="0">
                <a:effectLst/>
                <a:hlinkClick r:id="rId5"/>
              </a:rPr>
              <a:t>Inspection</a:t>
            </a:r>
            <a:r>
              <a:rPr lang="en-US" u="none" strike="noStrike" dirty="0">
                <a:effectLst/>
              </a:rPr>
              <a:t> </a:t>
            </a:r>
            <a:r>
              <a:rPr lang="en-US" dirty="0">
                <a:effectLst/>
              </a:rPr>
              <a:t>Manager and user apps for area inspection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u="none" strike="noStrike" dirty="0">
                <a:effectLst/>
                <a:hlinkClick r:id="rId6"/>
              </a:rPr>
              <a:t>Issue </a:t>
            </a:r>
            <a:r>
              <a:rPr lang="en-US" u="none" strike="noStrike" dirty="0" err="1">
                <a:effectLst/>
                <a:hlinkClick r:id="rId6"/>
              </a:rPr>
              <a:t>reporting</a:t>
            </a:r>
            <a:r>
              <a:rPr lang="en-US" dirty="0" err="1">
                <a:effectLst/>
              </a:rPr>
              <a:t>Manager</a:t>
            </a:r>
            <a:r>
              <a:rPr lang="en-US" dirty="0">
                <a:effectLst/>
              </a:rPr>
              <a:t> and user apps for issue reporting.</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26/2021 6: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410919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rial" panose="020B0604020202020204" pitchFamily="34" charset="0"/>
              <a:buNone/>
            </a:pPr>
            <a:r>
              <a:rPr lang="en-US" b="1" i="0" dirty="0">
                <a:effectLst/>
                <a:latin typeface="Segoe UI" panose="020B0502040204020203" pitchFamily="34" charset="0"/>
              </a:rPr>
              <a:t>Discuss</a:t>
            </a:r>
          </a:p>
          <a:p>
            <a:pPr marL="171450" lvl="0" indent="-171450">
              <a:buFont typeface="Arial" panose="020B0604020202020204" pitchFamily="34" charset="0"/>
              <a:buChar char="•"/>
            </a:pPr>
            <a:r>
              <a:rPr lang="en-US" b="0" i="0" dirty="0">
                <a:effectLst/>
                <a:latin typeface="Segoe UI" panose="020B0502040204020203" pitchFamily="34" charset="0"/>
              </a:rPr>
              <a:t>Support to build low-code and no-code apps, flows, and chatbots for and within Teams.</a:t>
            </a:r>
            <a:endParaRPr lang="en-US" b="0" i="0" dirty="0">
              <a:effectLst/>
              <a:latin typeface="Segoe UI Light" pitchFamily="34" charset="0"/>
            </a:endParaRPr>
          </a:p>
          <a:p>
            <a:pPr marL="171450" lvl="0" indent="-171450">
              <a:buFont typeface="Arial" panose="020B0604020202020204" pitchFamily="34" charset="0"/>
              <a:buChar char="•"/>
            </a:pPr>
            <a:r>
              <a:rPr lang="en-US" b="0" i="0" dirty="0">
                <a:effectLst/>
                <a:latin typeface="Segoe UI" panose="020B0502040204020203" pitchFamily="34" charset="0"/>
              </a:rPr>
              <a:t>Core data capabilities from the same platform behind Microsoft Power Platform and Dynamics 365.</a:t>
            </a:r>
            <a:endParaRPr lang="en-US" b="0" i="0" dirty="0">
              <a:effectLst/>
              <a:latin typeface="Segoe UI Light" pitchFamily="34" charset="0"/>
            </a:endParaRPr>
          </a:p>
          <a:p>
            <a:pPr marL="171450" lvl="0" indent="-171450">
              <a:buFont typeface="Arial" panose="020B0604020202020204" pitchFamily="34" charset="0"/>
              <a:buChar char="•"/>
            </a:pPr>
            <a:r>
              <a:rPr lang="en-US" b="0" i="0" dirty="0">
                <a:effectLst/>
                <a:latin typeface="Segoe UI" panose="020B0502040204020203" pitchFamily="34" charset="0"/>
              </a:rPr>
              <a:t>Storage, rich data types with enterprise capabilities, and one-click solution deployment.</a:t>
            </a:r>
            <a:endParaRPr lang="en-US" b="0" i="0" dirty="0">
              <a:effectLst/>
              <a:latin typeface="Segoe UI Light" pitchFamily="34" charset="0"/>
            </a:endParaRPr>
          </a:p>
          <a:p>
            <a:pPr marL="171450" lvl="0" indent="-171450">
              <a:buFont typeface="Arial" panose="020B0604020202020204" pitchFamily="34" charset="0"/>
              <a:buChar char="•"/>
            </a:pPr>
            <a:r>
              <a:rPr lang="en-US" b="0" i="0" dirty="0">
                <a:effectLst/>
                <a:latin typeface="Segoe UI" panose="020B0502040204020203" pitchFamily="34" charset="0"/>
              </a:rPr>
              <a:t>A new visual editor that makes it even easier to define and populate table data.</a:t>
            </a:r>
            <a:endParaRPr lang="en-US" b="0" i="0" dirty="0">
              <a:effectLst/>
              <a:latin typeface="Segoe UI Light" pitchFamily="34" charset="0"/>
            </a:endParaRPr>
          </a:p>
          <a:p>
            <a:pPr marL="171450" lvl="0" indent="-171450">
              <a:buFont typeface="Arial" panose="020B0604020202020204" pitchFamily="34" charset="0"/>
              <a:buChar char="•"/>
            </a:pPr>
            <a:r>
              <a:rPr lang="en-US" b="0" i="0" dirty="0">
                <a:effectLst/>
                <a:latin typeface="Segoe UI" panose="020B0502040204020203" pitchFamily="34" charset="0"/>
              </a:rPr>
              <a:t>Enterprise security that's easy to use and aligned with the approach used in Teams.</a:t>
            </a:r>
            <a:endParaRPr lang="en-US" b="0" i="0" dirty="0">
              <a:effectLst/>
              <a:latin typeface="Segoe UI Light" pitchFamily="34" charset="0"/>
            </a:endParaRPr>
          </a:p>
          <a:p>
            <a:pPr marL="171450" lvl="0" indent="-171450">
              <a:buFont typeface="Arial" panose="020B0604020202020204" pitchFamily="34" charset="0"/>
              <a:buChar char="•"/>
            </a:pPr>
            <a:r>
              <a:rPr lang="en-US" b="0" i="0" dirty="0">
                <a:effectLst/>
                <a:latin typeface="Segoe UI" panose="020B0502040204020203" pitchFamily="34" charset="0"/>
              </a:rPr>
              <a:t>Inclusion in most existing Teams licenses.</a:t>
            </a:r>
            <a:endParaRPr lang="en-US" dirty="0"/>
          </a:p>
          <a:p>
            <a:pPr marL="171450" lvl="0" indent="-171450">
              <a:buFont typeface="Arial" panose="020B0604020202020204" pitchFamily="34" charset="0"/>
              <a:buChar char="•"/>
            </a:pPr>
            <a:r>
              <a:rPr lang="en-US" b="0" i="0" dirty="0">
                <a:effectLst/>
                <a:latin typeface="Segoe UI" panose="020B0502040204020203" pitchFamily="34" charset="0"/>
              </a:rPr>
              <a:t>Storage of 2 GB per team, and support for up to 1 million rows.</a:t>
            </a:r>
            <a:endParaRPr lang="en-US" b="0" i="0" dirty="0">
              <a:effectLst/>
              <a:latin typeface="Segoe UI Light" pitchFamily="34" charset="0"/>
            </a:endParaRPr>
          </a:p>
          <a:p>
            <a:pPr marL="171450" lvl="0" indent="-171450">
              <a:buFont typeface="Arial" panose="020B0604020202020204" pitchFamily="34" charset="0"/>
              <a:buChar char="•"/>
            </a:pPr>
            <a:r>
              <a:rPr lang="en-US" b="0" i="0" dirty="0">
                <a:effectLst/>
                <a:latin typeface="Segoe UI" panose="020B0502040204020203" pitchFamily="34" charset="0"/>
              </a:rPr>
              <a:t>Support for up to 500 teams.</a:t>
            </a:r>
            <a:endParaRPr lang="en-US" dirty="0"/>
          </a:p>
          <a:p>
            <a:pPr marL="171450" lvl="0" indent="-171450">
              <a:buFont typeface="Arial" panose="020B0604020202020204" pitchFamily="34" charset="0"/>
              <a:buChar char="•"/>
            </a:pPr>
            <a:r>
              <a:rPr lang="en-US" b="0" i="0" dirty="0">
                <a:effectLst/>
                <a:latin typeface="Segoe UI" panose="020B0502040204020203" pitchFamily="34" charset="0"/>
              </a:rPr>
              <a:t>The capability to be promoted to </a:t>
            </a:r>
            <a:r>
              <a:rPr lang="en-US" b="0" i="0" dirty="0" err="1">
                <a:effectLst/>
                <a:latin typeface="Segoe UI" panose="020B0502040204020203" pitchFamily="34" charset="0"/>
              </a:rPr>
              <a:t>Dataverse</a:t>
            </a:r>
            <a:r>
              <a:rPr lang="en-US" b="0" i="0" dirty="0">
                <a:effectLst/>
                <a:latin typeface="Segoe UI" panose="020B0502040204020203" pitchFamily="34" charset="0"/>
              </a:rPr>
              <a:t>.</a:t>
            </a:r>
          </a:p>
          <a:p>
            <a:pPr marL="171450" lvl="0" indent="-171450">
              <a:buFont typeface="Arial" panose="020B0604020202020204" pitchFamily="34" charset="0"/>
              <a:buChar char="•"/>
            </a:pPr>
            <a:endParaRPr lang="en-US" b="0" i="0" dirty="0">
              <a:effectLst/>
              <a:latin typeface="Segoe UI" panose="020B0502040204020203" pitchFamily="34" charset="0"/>
            </a:endParaRPr>
          </a:p>
          <a:p>
            <a:pPr marL="0" lvl="0" indent="0">
              <a:buFont typeface="Arial" panose="020B0604020202020204" pitchFamily="34" charset="0"/>
              <a:buNone/>
            </a:pPr>
            <a:r>
              <a:rPr lang="en-US" b="1" i="0" dirty="0">
                <a:effectLst/>
                <a:latin typeface="Segoe UI" panose="020B0502040204020203" pitchFamily="34" charset="0"/>
              </a:rPr>
              <a:t>Mention</a:t>
            </a:r>
          </a:p>
          <a:p>
            <a:pPr marL="171450" lvl="0" indent="-171450">
              <a:buFont typeface="Arial" panose="020B0604020202020204" pitchFamily="34" charset="0"/>
              <a:buChar char="•"/>
            </a:pPr>
            <a:r>
              <a:rPr lang="en-US" b="0" i="0" dirty="0">
                <a:solidFill>
                  <a:srgbClr val="171717"/>
                </a:solidFill>
                <a:effectLst/>
                <a:latin typeface="Segoe UI" panose="020B0502040204020203" pitchFamily="34" charset="0"/>
              </a:rPr>
              <a:t>Supports Teams Azure AD security group with runtime (JIT) user access and privilege checks.</a:t>
            </a:r>
          </a:p>
          <a:p>
            <a:pPr marL="171450" lvl="0" indent="-171450">
              <a:buFont typeface="Arial" panose="020B0604020202020204" pitchFamily="34" charset="0"/>
              <a:buChar char="•"/>
            </a:pPr>
            <a:r>
              <a:rPr lang="en-US" b="0" i="0" dirty="0">
                <a:solidFill>
                  <a:srgbClr val="171717"/>
                </a:solidFill>
                <a:effectLst/>
                <a:latin typeface="Segoe UI" panose="020B0502040204020203" pitchFamily="34" charset="0"/>
              </a:rPr>
              <a:t>Auto assignment of System Administrator security role to Teams Owners.</a:t>
            </a:r>
          </a:p>
          <a:p>
            <a:pPr marL="171450" lvl="0" indent="-171450">
              <a:buFont typeface="Arial" panose="020B0604020202020204" pitchFamily="34" charset="0"/>
              <a:buChar char="•"/>
            </a:pPr>
            <a:r>
              <a:rPr lang="en-US" b="0" i="0" dirty="0">
                <a:solidFill>
                  <a:srgbClr val="171717"/>
                </a:solidFill>
                <a:effectLst/>
                <a:latin typeface="Segoe UI" panose="020B0502040204020203" pitchFamily="34" charset="0"/>
              </a:rPr>
              <a:t>Ability to assign different security roles to Teams Owners and Members.</a:t>
            </a:r>
          </a:p>
          <a:p>
            <a:pPr marL="171450" lvl="0" indent="-171450">
              <a:buFont typeface="Arial" panose="020B0604020202020204" pitchFamily="34" charset="0"/>
              <a:buChar char="•"/>
            </a:pPr>
            <a:r>
              <a:rPr lang="en-US" b="0" i="0" dirty="0">
                <a:solidFill>
                  <a:srgbClr val="171717"/>
                </a:solidFill>
                <a:effectLst/>
                <a:latin typeface="Segoe UI" panose="020B0502040204020203" pitchFamily="34" charset="0"/>
              </a:rPr>
              <a:t>No security settings management for Business Unit and Teams is required.</a:t>
            </a:r>
          </a:p>
          <a:p>
            <a:pPr marL="0" lvl="0" indent="0">
              <a:buFont typeface="Arial" panose="020B0604020202020204" pitchFamily="34" charset="0"/>
              <a:buNone/>
            </a:pP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26/2021 6: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474620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Discuss</a:t>
            </a:r>
          </a:p>
          <a:p>
            <a:pPr marL="171450" indent="-171450">
              <a:buFont typeface="Arial" panose="020B0604020202020204" pitchFamily="34" charset="0"/>
              <a:buChar char="•"/>
            </a:pPr>
            <a:r>
              <a:rPr lang="en-US"/>
              <a:t>If you require Access from outside of the Team that environment is connected to</a:t>
            </a:r>
          </a:p>
          <a:p>
            <a:pPr marL="171450" indent="-171450">
              <a:buFont typeface="Arial" panose="020B0604020202020204" pitchFamily="34" charset="0"/>
              <a:buChar char="•"/>
            </a:pPr>
            <a:r>
              <a:rPr lang="en-US"/>
              <a:t>Complicated logic or access to API is required</a:t>
            </a:r>
          </a:p>
          <a:p>
            <a:pPr marL="171450" indent="-171450">
              <a:buFont typeface="Arial" panose="020B0604020202020204" pitchFamily="34" charset="0"/>
              <a:buChar char="•"/>
            </a:pPr>
            <a:r>
              <a:rPr lang="en-US"/>
              <a:t>If you require more data then 2GB or over 1 million rows</a:t>
            </a:r>
          </a:p>
          <a:p>
            <a:pPr marL="171450" indent="-171450">
              <a:buFont typeface="Arial" panose="020B0604020202020204" pitchFamily="34" charset="0"/>
              <a:buChar char="•"/>
            </a:pPr>
            <a:r>
              <a:rPr lang="en-US"/>
              <a:t>Exceed the 500 environment limit</a:t>
            </a:r>
          </a:p>
          <a:p>
            <a:pPr marL="0" indent="0">
              <a:buFont typeface="Arial" panose="020B0604020202020204" pitchFamily="34" charset="0"/>
              <a:buNone/>
            </a:pPr>
            <a:endParaRPr lang="en-US"/>
          </a:p>
          <a:p>
            <a:pPr marL="0" indent="0">
              <a:buFont typeface="Arial" panose="020B0604020202020204" pitchFamily="34" charset="0"/>
              <a:buNone/>
            </a:pPr>
            <a:r>
              <a:rPr lang="en-US" b="1"/>
              <a:t>Mention</a:t>
            </a:r>
          </a:p>
          <a:p>
            <a:pPr marL="171450" indent="-171450">
              <a:buFont typeface="Arial" panose="020B0604020202020204" pitchFamily="34" charset="0"/>
              <a:buChar char="•"/>
            </a:pPr>
            <a:r>
              <a:rPr lang="en-US"/>
              <a:t>Other choices include</a:t>
            </a:r>
          </a:p>
          <a:p>
            <a:pPr marL="388712" lvl="1" indent="-171450">
              <a:buFont typeface="Arial" panose="020B0604020202020204" pitchFamily="34" charset="0"/>
              <a:buChar char="•"/>
            </a:pPr>
            <a:r>
              <a:rPr lang="en-US" err="1"/>
              <a:t>Dataverse</a:t>
            </a:r>
            <a:endParaRPr lang="en-US"/>
          </a:p>
          <a:p>
            <a:pPr marL="388712" lvl="1" indent="-171450">
              <a:buFont typeface="Arial" panose="020B0604020202020204" pitchFamily="34" charset="0"/>
              <a:buChar char="•"/>
            </a:pPr>
            <a:r>
              <a:rPr lang="en-US"/>
              <a:t>SP Lis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26/2021 6: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444923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900" b="1" i="0">
                <a:solidFill>
                  <a:srgbClr val="171717"/>
                </a:solidFill>
                <a:effectLst/>
                <a:latin typeface="Segoe UI" panose="020B0502040204020203" pitchFamily="34" charset="0"/>
              </a:rPr>
              <a:t>Discuss</a:t>
            </a:r>
          </a:p>
          <a:p>
            <a:pPr>
              <a:lnSpc>
                <a:spcPct val="90000"/>
              </a:lnSpc>
              <a:spcAft>
                <a:spcPts val="600"/>
              </a:spcAft>
            </a:pPr>
            <a:r>
              <a:rPr lang="en-US" sz="900" b="0" i="0">
                <a:solidFill>
                  <a:srgbClr val="171717"/>
                </a:solidFill>
                <a:effectLst/>
                <a:latin typeface="Segoe UI" panose="020B0502040204020203" pitchFamily="34" charset="0"/>
              </a:rPr>
              <a:t>The </a:t>
            </a:r>
            <a:r>
              <a:rPr lang="en-US" sz="900" b="0" i="0" err="1">
                <a:solidFill>
                  <a:srgbClr val="171717"/>
                </a:solidFill>
                <a:effectLst/>
                <a:latin typeface="Segoe UI" panose="020B0502040204020203" pitchFamily="34" charset="0"/>
              </a:rPr>
              <a:t>Dataverse</a:t>
            </a:r>
            <a:r>
              <a:rPr lang="en-US" sz="900" b="0" i="0">
                <a:solidFill>
                  <a:srgbClr val="171717"/>
                </a:solidFill>
                <a:effectLst/>
                <a:latin typeface="Segoe UI" panose="020B0502040204020203" pitchFamily="34" charset="0"/>
              </a:rPr>
              <a:t> for Teams environment is automatically created for the selected team when you:</a:t>
            </a:r>
          </a:p>
          <a:p>
            <a:pPr>
              <a:lnSpc>
                <a:spcPct val="90000"/>
              </a:lnSpc>
              <a:spcAft>
                <a:spcPts val="600"/>
              </a:spcAft>
            </a:pPr>
            <a:endParaRPr lang="en-US" sz="900" b="0" i="0">
              <a:solidFill>
                <a:srgbClr val="171717"/>
              </a:solidFill>
              <a:effectLst/>
              <a:latin typeface="Segoe UI" panose="020B0502040204020203" pitchFamily="34" charset="0"/>
            </a:endParaRPr>
          </a:p>
          <a:p>
            <a:pPr>
              <a:lnSpc>
                <a:spcPct val="90000"/>
              </a:lnSpc>
              <a:spcAft>
                <a:spcPts val="600"/>
              </a:spcAft>
            </a:pPr>
            <a:r>
              <a:rPr lang="en-US" sz="900">
                <a:solidFill>
                  <a:srgbClr val="171717"/>
                </a:solidFill>
                <a:latin typeface="Segoe UI" panose="020B0502040204020203" pitchFamily="34" charset="0"/>
              </a:rPr>
              <a:t>1.</a:t>
            </a:r>
            <a:r>
              <a:rPr lang="en-US" sz="900" b="0" i="0">
                <a:solidFill>
                  <a:srgbClr val="171717"/>
                </a:solidFill>
                <a:effectLst/>
                <a:latin typeface="Segoe UI" panose="020B0502040204020203" pitchFamily="34" charset="0"/>
              </a:rPr>
              <a:t> </a:t>
            </a:r>
            <a:r>
              <a:rPr lang="en-US" sz="900" b="0" i="0" u="none" strike="noStrike">
                <a:effectLst/>
                <a:latin typeface="Segoe UI" panose="020B0502040204020203" pitchFamily="34" charset="0"/>
                <a:hlinkClick r:id="rId3"/>
              </a:rPr>
              <a:t>Create an app</a:t>
            </a:r>
            <a:r>
              <a:rPr lang="en-US" sz="900" b="0" i="0">
                <a:solidFill>
                  <a:srgbClr val="171717"/>
                </a:solidFill>
                <a:effectLst/>
                <a:latin typeface="Segoe UI" panose="020B0502040204020203" pitchFamily="34" charset="0"/>
              </a:rPr>
              <a:t> with the new Power Apps app in Teams for the first time</a:t>
            </a:r>
          </a:p>
          <a:p>
            <a:pPr>
              <a:lnSpc>
                <a:spcPct val="90000"/>
              </a:lnSpc>
              <a:spcAft>
                <a:spcPts val="600"/>
              </a:spcAft>
            </a:pPr>
            <a:r>
              <a:rPr lang="en-US" sz="900">
                <a:solidFill>
                  <a:srgbClr val="171717"/>
                </a:solidFill>
                <a:latin typeface="Segoe UI" panose="020B0502040204020203" pitchFamily="34" charset="0"/>
              </a:rPr>
              <a:t>2.</a:t>
            </a:r>
            <a:r>
              <a:rPr lang="en-US" sz="900" b="0" i="0">
                <a:solidFill>
                  <a:srgbClr val="171717"/>
                </a:solidFill>
                <a:effectLst/>
                <a:latin typeface="Segoe UI" panose="020B0502040204020203" pitchFamily="34" charset="0"/>
              </a:rPr>
              <a:t> Install a Power Apps app from the app catalog for the first time.</a:t>
            </a:r>
          </a:p>
          <a:p>
            <a:pPr>
              <a:lnSpc>
                <a:spcPct val="90000"/>
              </a:lnSpc>
              <a:spcAft>
                <a:spcPts val="600"/>
              </a:spcAft>
            </a:pPr>
            <a:endParaRPr lang="en-US" sz="900" b="0" i="0">
              <a:solidFill>
                <a:srgbClr val="171717"/>
              </a:solidFill>
              <a:effectLst/>
              <a:latin typeface="Segoe UI" panose="020B0502040204020203" pitchFamily="34" charset="0"/>
            </a:endParaRPr>
          </a:p>
          <a:p>
            <a:pPr>
              <a:lnSpc>
                <a:spcPct val="90000"/>
              </a:lnSpc>
              <a:spcAft>
                <a:spcPts val="600"/>
              </a:spcAft>
            </a:pPr>
            <a:r>
              <a:rPr lang="en-US" sz="900" b="1" i="0">
                <a:solidFill>
                  <a:srgbClr val="171717"/>
                </a:solidFill>
                <a:effectLst/>
                <a:latin typeface="Segoe UI" panose="020B0502040204020203" pitchFamily="34" charset="0"/>
              </a:rPr>
              <a:t>Mention</a:t>
            </a:r>
          </a:p>
          <a:p>
            <a:pPr>
              <a:lnSpc>
                <a:spcPct val="90000"/>
              </a:lnSpc>
              <a:spcAft>
                <a:spcPts val="600"/>
              </a:spcAft>
            </a:pPr>
            <a:endParaRPr lang="en-US" sz="900" b="0" i="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Aligns with the core roles identified in the environment: Owners, Members, and Guests</a:t>
            </a: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Access to the environment is restricted just to the Teams owners, members, and guests</a:t>
            </a: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Granting access is managed by Teams Owner by adding or removing members</a:t>
            </a:r>
          </a:p>
          <a:p>
            <a:pPr marL="171450" indent="-171450" algn="l">
              <a:buFont typeface="Arial" panose="020B0604020202020204" pitchFamily="34" charset="0"/>
              <a:buChar char="•"/>
            </a:pPr>
            <a:r>
              <a:rPr lang="en-US" b="0" i="0">
                <a:solidFill>
                  <a:srgbClr val="171717"/>
                </a:solidFill>
                <a:effectLst/>
                <a:latin typeface="Segoe UI" panose="020B0502040204020203" pitchFamily="34" charset="0"/>
              </a:rPr>
              <a:t>Provides support for files, images, and multiple related table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26/2021 6: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519020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Embed a canvas app as tab app - Power Apps | Microsoft Docs</a:t>
            </a:r>
          </a:p>
          <a:p>
            <a:r>
              <a:rPr lang="en-US">
                <a:hlinkClick r:id="rId4"/>
              </a:rPr>
              <a:t>Embed an app in Teams - Power Apps | Microsoft Doc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10/26/2021 6: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41675907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microsoft.com/en-us/legal/intellectualproperty/permissions" TargetMode="External"/><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2388" cy="3664099"/>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a:latin typeface="+mj-lt"/>
              </a:rPr>
              <a:t>&lt;&lt;Module Title&gt;&gt;</a:t>
            </a:r>
            <a:endParaRPr lang="en-US"/>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04929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20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702" y="2119178"/>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320" y="2119177"/>
            <a:ext cx="6402388" cy="3664085"/>
          </a:xfrm>
          <a:noFill/>
        </p:spPr>
        <p:txBody>
          <a:bodyPr lIns="146304" tIns="91440" rIns="146304" bIns="91440" anchor="t" anchorCtr="0">
            <a:noAutofit/>
          </a:bodyPr>
          <a:lstStyle>
            <a:lvl1pPr>
              <a:defRPr sz="4000" spc="-100" baseline="0">
                <a:gradFill>
                  <a:gsLst>
                    <a:gs pos="57576">
                      <a:srgbClr val="FFFFFF"/>
                    </a:gs>
                    <a:gs pos="35000">
                      <a:srgbClr val="FFFFFF"/>
                    </a:gs>
                  </a:gsLst>
                  <a:lin ang="5400000" scaled="0"/>
                </a:gradFill>
                <a:latin typeface="+mj-lt"/>
              </a:defRPr>
            </a:lvl1pPr>
          </a:lstStyle>
          <a:p>
            <a:r>
              <a:rPr lang="en-US" sz="4000">
                <a:latin typeface="+mj-lt"/>
              </a:rPr>
              <a:t>&lt;&lt;Module Title&gt;&gt;</a:t>
            </a:r>
            <a:endParaRPr lang="en-US"/>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08015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063161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ow to view this Presenta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66A743-B49D-4CCF-94F3-42450F822BF0}"/>
              </a:ext>
            </a:extLst>
          </p:cNvPr>
          <p:cNvSpPr/>
          <p:nvPr userDrawn="1"/>
        </p:nvSpPr>
        <p:spPr>
          <a:xfrm>
            <a:off x="274639" y="1213876"/>
            <a:ext cx="11889564" cy="4247317"/>
          </a:xfrm>
          <a:prstGeom prst="rect">
            <a:avLst/>
          </a:prstGeom>
        </p:spPr>
        <p:txBody>
          <a:bodyPr wrap="square" lIns="146304" tIns="91440" rIns="146304" bIns="91440">
            <a:spAutoFit/>
          </a:bodyPr>
          <a:lstStyle/>
          <a:p>
            <a:pPr lvl="0"/>
            <a:r>
              <a:rPr lang="en-US" sz="2400"/>
              <a:t>To switch to </a:t>
            </a:r>
            <a:r>
              <a:rPr lang="en-US" sz="2400" b="1"/>
              <a:t>Notes Page </a:t>
            </a:r>
            <a:r>
              <a:rPr lang="en-US" sz="2400"/>
              <a:t>view:</a:t>
            </a:r>
          </a:p>
          <a:p>
            <a:pPr lvl="1"/>
            <a:r>
              <a:rPr lang="en-US" sz="2400"/>
              <a:t>On the ribbon, click the </a:t>
            </a:r>
            <a:r>
              <a:rPr lang="en-US" sz="2400" b="1"/>
              <a:t>View</a:t>
            </a:r>
            <a:r>
              <a:rPr lang="en-US" sz="2400"/>
              <a:t> tab, and then click </a:t>
            </a:r>
            <a:r>
              <a:rPr lang="en-US" sz="2400" b="1"/>
              <a:t>Notes Page</a:t>
            </a:r>
          </a:p>
          <a:p>
            <a:pPr lvl="0"/>
            <a:endParaRPr lang="en-US" sz="2400"/>
          </a:p>
          <a:p>
            <a:pPr lvl="0"/>
            <a:r>
              <a:rPr lang="en-US" sz="2400"/>
              <a:t>To navigate through notes, use the </a:t>
            </a:r>
            <a:r>
              <a:rPr lang="en-US" sz="2400" b="1"/>
              <a:t>Page Up </a:t>
            </a:r>
            <a:r>
              <a:rPr lang="en-US" sz="2400"/>
              <a:t>and </a:t>
            </a:r>
            <a:r>
              <a:rPr lang="en-US" sz="2400" b="1"/>
              <a:t>Page Down </a:t>
            </a:r>
            <a:r>
              <a:rPr lang="en-US" sz="2400"/>
              <a:t>keys</a:t>
            </a:r>
          </a:p>
          <a:p>
            <a:pPr lvl="1"/>
            <a:r>
              <a:rPr lang="en-US" sz="2400"/>
              <a:t>Zoom in or zoom out, if required</a:t>
            </a:r>
          </a:p>
          <a:p>
            <a:pPr lvl="0"/>
            <a:endParaRPr lang="en-US" sz="2400"/>
          </a:p>
          <a:p>
            <a:pPr lvl="0"/>
            <a:r>
              <a:rPr lang="en-US" sz="2400"/>
              <a:t>In the </a:t>
            </a:r>
            <a:r>
              <a:rPr lang="en-US" sz="2400" b="1"/>
              <a:t>Notes Page </a:t>
            </a:r>
            <a:r>
              <a:rPr lang="en-US" sz="2400"/>
              <a:t>view, you can:</a:t>
            </a:r>
          </a:p>
          <a:p>
            <a:pPr lvl="1"/>
            <a:r>
              <a:rPr lang="en-US" sz="2400"/>
              <a:t>Read any supporting text—now or after the delivery</a:t>
            </a:r>
          </a:p>
          <a:p>
            <a:pPr lvl="1"/>
            <a:r>
              <a:rPr lang="en-US" sz="2400"/>
              <a:t>Add notes to your copy of the presentation, if required</a:t>
            </a:r>
          </a:p>
          <a:p>
            <a:pPr lvl="0"/>
            <a:endParaRPr lang="en-US" sz="2400"/>
          </a:p>
          <a:p>
            <a:pPr lvl="0"/>
            <a:r>
              <a:rPr lang="en-US" sz="2400"/>
              <a:t>Take the presentation files home with you</a:t>
            </a:r>
          </a:p>
        </p:txBody>
      </p:sp>
      <p:sp>
        <p:nvSpPr>
          <p:cNvPr id="5" name="Rectangle 4">
            <a:extLst>
              <a:ext uri="{FF2B5EF4-FFF2-40B4-BE49-F238E27FC236}">
                <a16:creationId xmlns:a16="http://schemas.microsoft.com/office/drawing/2014/main" id="{32C605F4-CFC7-4BE5-832B-80BBA5066247}"/>
              </a:ext>
            </a:extLst>
          </p:cNvPr>
          <p:cNvSpPr/>
          <p:nvPr userDrawn="1"/>
        </p:nvSpPr>
        <p:spPr>
          <a:xfrm>
            <a:off x="274638" y="294246"/>
            <a:ext cx="11887198" cy="923330"/>
          </a:xfrm>
          <a:prstGeom prst="rect">
            <a:avLst/>
          </a:prstGeom>
        </p:spPr>
        <p:txBody>
          <a:bodyPr wrap="square" lIns="146304" tIns="91440" rIns="146304" bIns="91440">
            <a:noAutofit/>
          </a:bodyPr>
          <a:lstStyle/>
          <a:p>
            <a:r>
              <a:rPr lang="en-US" sz="4800">
                <a:solidFill>
                  <a:schemeClr val="accent3"/>
                </a:solidFill>
                <a:latin typeface="+mj-lt"/>
              </a:rPr>
              <a:t>How to View This Presentation</a:t>
            </a:r>
          </a:p>
        </p:txBody>
      </p:sp>
    </p:spTree>
    <p:extLst>
      <p:ext uri="{BB962C8B-B14F-4D97-AF65-F5344CB8AC3E}">
        <p14:creationId xmlns:p14="http://schemas.microsoft.com/office/powerpoint/2010/main" val="64383208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dule Overview">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B10EA7-4705-4753-B9B2-5A545797BA7E}"/>
              </a:ext>
            </a:extLst>
          </p:cNvPr>
          <p:cNvSpPr/>
          <p:nvPr userDrawn="1"/>
        </p:nvSpPr>
        <p:spPr>
          <a:xfrm>
            <a:off x="274638" y="295274"/>
            <a:ext cx="11887196" cy="914400"/>
          </a:xfrm>
          <a:prstGeom prst="rect">
            <a:avLst/>
          </a:prstGeom>
        </p:spPr>
        <p:txBody>
          <a:bodyPr wrap="square" lIns="146304" tIns="91440" rIns="146304" bIns="91440">
            <a:noAutofit/>
          </a:bodyPr>
          <a:lstStyle/>
          <a:p>
            <a:pPr marL="53975" indent="0"/>
            <a:r>
              <a:rPr lang="en-US" sz="4800" baseline="0">
                <a:solidFill>
                  <a:schemeClr val="accent3"/>
                </a:solidFill>
                <a:latin typeface="+mj-lt"/>
              </a:rPr>
              <a:t>Module Overview</a:t>
            </a:r>
          </a:p>
        </p:txBody>
      </p:sp>
      <p:sp>
        <p:nvSpPr>
          <p:cNvPr id="7" name="Text Placeholder 4">
            <a:extLst>
              <a:ext uri="{FF2B5EF4-FFF2-40B4-BE49-F238E27FC236}">
                <a16:creationId xmlns:a16="http://schemas.microsoft.com/office/drawing/2014/main" id="{781BB40F-20AD-43CC-9A94-AC3AEDDE6D99}"/>
              </a:ext>
            </a:extLst>
          </p:cNvPr>
          <p:cNvSpPr>
            <a:spLocks noGrp="1"/>
          </p:cNvSpPr>
          <p:nvPr>
            <p:ph type="body" sz="quarter" idx="10" hasCustomPrompt="1"/>
          </p:nvPr>
        </p:nvSpPr>
        <p:spPr>
          <a:xfrm>
            <a:off x="274638" y="1211255"/>
            <a:ext cx="11887200" cy="5487988"/>
          </a:xfrm>
        </p:spPr>
        <p:txBody>
          <a:bodyPr/>
          <a:lstStyle>
            <a:lvl1pPr>
              <a:defRPr/>
            </a:lvl1pPr>
            <a:lvl2pPr>
              <a:defRPr/>
            </a:lvl2pPr>
          </a:lstStyle>
          <a:p>
            <a:pPr lvl="0"/>
            <a:r>
              <a:rPr lang="en-US"/>
              <a:t>&lt;&lt;Lesson 1: Title&gt;&gt;</a:t>
            </a:r>
            <a:br>
              <a:rPr lang="en-US"/>
            </a:br>
            <a:r>
              <a:rPr lang="en-US"/>
              <a:t> &lt;&lt;Lesson 2: Title&gt;&gt;</a:t>
            </a:r>
          </a:p>
        </p:txBody>
      </p:sp>
    </p:spTree>
    <p:extLst>
      <p:ext uri="{BB962C8B-B14F-4D97-AF65-F5344CB8AC3E}">
        <p14:creationId xmlns:p14="http://schemas.microsoft.com/office/powerpoint/2010/main" val="16424375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sson overview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74638" y="295273"/>
            <a:ext cx="11887200" cy="914400"/>
          </a:xfrm>
        </p:spPr>
        <p:txBody>
          <a:bodyPr/>
          <a:lstStyle>
            <a:lvl1pPr>
              <a:defRPr/>
            </a:lvl1pPr>
          </a:lstStyle>
          <a:p>
            <a:r>
              <a:rPr lang="en-US"/>
              <a:t>Lesson #: &lt;&lt;Insert Title&gt;&gt;</a:t>
            </a:r>
          </a:p>
        </p:txBody>
      </p:sp>
      <p:sp>
        <p:nvSpPr>
          <p:cNvPr id="5" name="Text Placeholder 4">
            <a:extLst>
              <a:ext uri="{FF2B5EF4-FFF2-40B4-BE49-F238E27FC236}">
                <a16:creationId xmlns:a16="http://schemas.microsoft.com/office/drawing/2014/main" id="{023B8C45-121E-4A34-80C4-59192415431B}"/>
              </a:ext>
            </a:extLst>
          </p:cNvPr>
          <p:cNvSpPr>
            <a:spLocks noGrp="1"/>
          </p:cNvSpPr>
          <p:nvPr>
            <p:ph type="body" sz="quarter" idx="11" hasCustomPrompt="1"/>
          </p:nvPr>
        </p:nvSpPr>
        <p:spPr>
          <a:xfrm>
            <a:off x="272272" y="1211263"/>
            <a:ext cx="11887200" cy="683264"/>
          </a:xfrm>
        </p:spPr>
        <p:txBody>
          <a:bodyPr/>
          <a:lstStyle>
            <a:lvl1pPr>
              <a:defRPr/>
            </a:lvl1pPr>
            <a:lvl2pPr>
              <a:defRPr/>
            </a:lvl2pPr>
          </a:lstStyle>
          <a:p>
            <a:pPr lvl="0"/>
            <a:r>
              <a:rPr lang="en-US"/>
              <a:t>&lt;&lt;overview&gt;&gt;</a:t>
            </a:r>
          </a:p>
        </p:txBody>
      </p:sp>
    </p:spTree>
    <p:extLst>
      <p:ext uri="{BB962C8B-B14F-4D97-AF65-F5344CB8AC3E}">
        <p14:creationId xmlns:p14="http://schemas.microsoft.com/office/powerpoint/2010/main" val="30713775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sson content V1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lt;&lt;Topic&gt;&gt;</a:t>
            </a:r>
          </a:p>
        </p:txBody>
      </p:sp>
      <p:sp>
        <p:nvSpPr>
          <p:cNvPr id="3" name="Content Placeholder 2">
            <a:extLst>
              <a:ext uri="{FF2B5EF4-FFF2-40B4-BE49-F238E27FC236}">
                <a16:creationId xmlns:a16="http://schemas.microsoft.com/office/drawing/2014/main" id="{61BEADB5-993B-439C-91A9-F207CC6154E8}"/>
              </a:ext>
            </a:extLst>
          </p:cNvPr>
          <p:cNvSpPr>
            <a:spLocks noGrp="1"/>
          </p:cNvSpPr>
          <p:nvPr>
            <p:ph sz="quarter" idx="11" hasCustomPrompt="1"/>
          </p:nvPr>
        </p:nvSpPr>
        <p:spPr>
          <a:xfrm>
            <a:off x="274638" y="1216152"/>
            <a:ext cx="11888787" cy="5486400"/>
          </a:xfrm>
        </p:spPr>
        <p:txBody>
          <a:bodyPr/>
          <a:lstStyle>
            <a:lvl1pPr marL="0" indent="0">
              <a:buNone/>
              <a:defRPr/>
            </a:lvl1pPr>
          </a:lstStyle>
          <a:p>
            <a:pPr lvl="0"/>
            <a:r>
              <a:rPr lang="en-US"/>
              <a:t>&lt;&lt;add content/details/charts/</a:t>
            </a:r>
            <a:r>
              <a:rPr lang="en-US" err="1"/>
              <a:t>smartart</a:t>
            </a:r>
            <a:r>
              <a:rPr lang="en-US"/>
              <a:t>/images/bullets as needed&gt;&gt;</a:t>
            </a:r>
            <a:br>
              <a:rPr lang="en-US"/>
            </a:br>
            <a:br>
              <a:rPr lang="en-US"/>
            </a:br>
            <a:br>
              <a:rPr lang="en-US"/>
            </a:br>
            <a:br>
              <a:rPr lang="en-US"/>
            </a:br>
            <a:endParaRPr lang="en-US"/>
          </a:p>
        </p:txBody>
      </p:sp>
    </p:spTree>
    <p:extLst>
      <p:ext uri="{BB962C8B-B14F-4D97-AF65-F5344CB8AC3E}">
        <p14:creationId xmlns:p14="http://schemas.microsoft.com/office/powerpoint/2010/main" val="104934496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sson content V2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3100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sson content V3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5943599"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7920" y="1212850"/>
            <a:ext cx="5943601" cy="5486400"/>
          </a:xfrm>
        </p:spPr>
        <p:txBody>
          <a:bodyPr/>
          <a:lstStyle>
            <a:lvl1pPr>
              <a:defRPr/>
            </a:lvl1pPr>
          </a:lstStyle>
          <a:p>
            <a:r>
              <a:rPr lang="en-US"/>
              <a:t>&lt;&lt;picture of topic&gt;&gt;</a:t>
            </a:r>
          </a:p>
        </p:txBody>
      </p:sp>
    </p:spTree>
    <p:extLst>
      <p:ext uri="{BB962C8B-B14F-4D97-AF65-F5344CB8AC3E}">
        <p14:creationId xmlns:p14="http://schemas.microsoft.com/office/powerpoint/2010/main" val="29976343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sson content V4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4" name="Text Placeholder 3">
            <a:extLst>
              <a:ext uri="{FF2B5EF4-FFF2-40B4-BE49-F238E27FC236}">
                <a16:creationId xmlns:a16="http://schemas.microsoft.com/office/drawing/2014/main" id="{3147A62B-9344-47FC-B941-A1ADD2A3A066}"/>
              </a:ext>
            </a:extLst>
          </p:cNvPr>
          <p:cNvSpPr>
            <a:spLocks noGrp="1"/>
          </p:cNvSpPr>
          <p:nvPr>
            <p:ph type="body" sz="quarter" idx="10"/>
          </p:nvPr>
        </p:nvSpPr>
        <p:spPr>
          <a:xfrm>
            <a:off x="274638" y="1212850"/>
            <a:ext cx="118872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272274" y="3956048"/>
            <a:ext cx="11889564" cy="2743199"/>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Tree>
    <p:extLst>
      <p:ext uri="{BB962C8B-B14F-4D97-AF65-F5344CB8AC3E}">
        <p14:creationId xmlns:p14="http://schemas.microsoft.com/office/powerpoint/2010/main" val="31565954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sson content V5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1E1BC8-C70D-474D-9AF8-12B4CE2F0182}"/>
              </a:ext>
            </a:extLst>
          </p:cNvPr>
          <p:cNvSpPr>
            <a:spLocks noGrp="1"/>
          </p:cNvSpPr>
          <p:nvPr>
            <p:ph type="title" hasCustomPrompt="1"/>
          </p:nvPr>
        </p:nvSpPr>
        <p:spPr/>
        <p:txBody>
          <a:bodyPr/>
          <a:lstStyle>
            <a:lvl1pPr>
              <a:defRPr/>
            </a:lvl1pPr>
          </a:lstStyle>
          <a:p>
            <a:r>
              <a:rPr lang="en-US"/>
              <a:t>&lt;&lt;topic&gt;&gt;</a:t>
            </a:r>
          </a:p>
        </p:txBody>
      </p:sp>
      <p:sp>
        <p:nvSpPr>
          <p:cNvPr id="5" name="Picture Placeholder 4">
            <a:extLst>
              <a:ext uri="{FF2B5EF4-FFF2-40B4-BE49-F238E27FC236}">
                <a16:creationId xmlns:a16="http://schemas.microsoft.com/office/drawing/2014/main" id="{4C4CCE46-6C48-4C12-BA5E-A467C5ACBEEF}"/>
              </a:ext>
            </a:extLst>
          </p:cNvPr>
          <p:cNvSpPr>
            <a:spLocks noGrp="1"/>
          </p:cNvSpPr>
          <p:nvPr>
            <p:ph type="pic" sz="quarter" idx="11" hasCustomPrompt="1"/>
          </p:nvPr>
        </p:nvSpPr>
        <p:spPr>
          <a:xfrm>
            <a:off x="6218236" y="1212850"/>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
        <p:nvSpPr>
          <p:cNvPr id="6" name="Picture Placeholder 4">
            <a:extLst>
              <a:ext uri="{FF2B5EF4-FFF2-40B4-BE49-F238E27FC236}">
                <a16:creationId xmlns:a16="http://schemas.microsoft.com/office/drawing/2014/main" id="{C55733C9-C8F1-446E-9461-A87538003DB5}"/>
              </a:ext>
            </a:extLst>
          </p:cNvPr>
          <p:cNvSpPr>
            <a:spLocks noGrp="1"/>
          </p:cNvSpPr>
          <p:nvPr>
            <p:ph type="pic" sz="quarter" idx="12" hasCustomPrompt="1"/>
          </p:nvPr>
        </p:nvSpPr>
        <p:spPr>
          <a:xfrm>
            <a:off x="272269" y="1230954"/>
            <a:ext cx="5943601" cy="5486398"/>
          </a:xfrm>
        </p:spPr>
        <p:txBody>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a:lvl1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lt;&lt;picture of topic&gt;&gt;</a:t>
            </a:r>
          </a:p>
          <a:p>
            <a:endParaRPr lang="en-US"/>
          </a:p>
        </p:txBody>
      </p:sp>
    </p:spTree>
    <p:extLst>
      <p:ext uri="{BB962C8B-B14F-4D97-AF65-F5344CB8AC3E}">
        <p14:creationId xmlns:p14="http://schemas.microsoft.com/office/powerpoint/2010/main" val="19983948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s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331719" y="292607"/>
            <a:ext cx="3429320" cy="914400"/>
          </a:xfrm>
        </p:spPr>
        <p:txBody>
          <a:bodyPr>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39871580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s Slide V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9" y="1237045"/>
            <a:ext cx="5486400" cy="849463"/>
          </a:xfrm>
        </p:spPr>
        <p:txBody>
          <a:bodyPr wrap="square">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7"/>
            <a:ext cx="2057399" cy="923330"/>
          </a:xfrm>
          <a:prstGeom prst="rect">
            <a:avLst/>
          </a:prstGeom>
        </p:spPr>
        <p:txBody>
          <a:bodyPr wrap="square" lIns="146304" tIns="91440" rIns="146304" bIns="91440">
            <a:spAutoFit/>
          </a:bodyPr>
          <a:lstStyle/>
          <a:p>
            <a:pPr lvl="0"/>
            <a:r>
              <a:rPr lang="en-US" sz="4800">
                <a:latin typeface="+mj-lt"/>
              </a:rPr>
              <a:t>Demo:</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320" y="3017520"/>
            <a:ext cx="5486400" cy="27432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dirty="0">
                <a:latin typeface="+mn-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description of the demo&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pic>
        <p:nvPicPr>
          <p:cNvPr id="7" name="Picture Placeholder 3">
            <a:extLst>
              <a:ext uri="{FF2B5EF4-FFF2-40B4-BE49-F238E27FC236}">
                <a16:creationId xmlns:a16="http://schemas.microsoft.com/office/drawing/2014/main" id="{C8AB17EB-AA1A-4C6B-AC50-9B86962C2A42}"/>
              </a:ext>
            </a:extLst>
          </p:cNvPr>
          <p:cNvPicPr>
            <a:picLocks noChangeAspect="1"/>
          </p:cNvPicPr>
          <p:nvPr userDrawn="1"/>
        </p:nvPicPr>
        <p:blipFill>
          <a:blip r:embed="rId2"/>
          <a:srcRect l="20120" r="20120"/>
          <a:stretch>
            <a:fillRect/>
          </a:stretch>
        </p:blipFill>
        <p:spPr>
          <a:xfrm>
            <a:off x="6219825" y="0"/>
            <a:ext cx="6216650" cy="6992587"/>
          </a:xfrm>
          <a:prstGeom prst="rect">
            <a:avLst/>
          </a:prstGeom>
        </p:spPr>
      </p:pic>
    </p:spTree>
    <p:extLst>
      <p:ext uri="{BB962C8B-B14F-4D97-AF65-F5344CB8AC3E}">
        <p14:creationId xmlns:p14="http://schemas.microsoft.com/office/powerpoint/2010/main" val="10382191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b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1646236" y="292607"/>
            <a:ext cx="4114802" cy="914400"/>
          </a:xfrm>
        </p:spPr>
        <p:txBody>
          <a:bodyPr>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89644882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b Slide V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7A5DF2-09AC-47AD-B8C0-1CC44D475AE3}"/>
              </a:ext>
            </a:extLst>
          </p:cNvPr>
          <p:cNvPicPr>
            <a:picLocks noChangeAspect="1"/>
          </p:cNvPicPr>
          <p:nvPr userDrawn="1"/>
        </p:nvPicPr>
        <p:blipFill>
          <a:blip r:embed="rId2"/>
          <a:stretch>
            <a:fillRect/>
          </a:stretch>
        </p:blipFill>
        <p:spPr>
          <a:xfrm>
            <a:off x="6218237" y="1807"/>
            <a:ext cx="6218459" cy="6992718"/>
          </a:xfrm>
          <a:prstGeom prst="rect">
            <a:avLst/>
          </a:prstGeom>
        </p:spPr>
      </p:pic>
      <p:sp>
        <p:nvSpPr>
          <p:cNvPr id="6" name="Title 5">
            <a:extLst>
              <a:ext uri="{FF2B5EF4-FFF2-40B4-BE49-F238E27FC236}">
                <a16:creationId xmlns:a16="http://schemas.microsoft.com/office/drawing/2014/main" id="{E3E498DD-12CF-43D7-92E4-4CB3CC81D1BA}"/>
              </a:ext>
            </a:extLst>
          </p:cNvPr>
          <p:cNvSpPr>
            <a:spLocks noGrp="1"/>
          </p:cNvSpPr>
          <p:nvPr>
            <p:ph type="title" hasCustomPrompt="1"/>
          </p:nvPr>
        </p:nvSpPr>
        <p:spPr>
          <a:xfrm>
            <a:off x="274318" y="1207008"/>
            <a:ext cx="5486401" cy="849463"/>
          </a:xfrm>
        </p:spPr>
        <p:txBody>
          <a:bodyPr wrap="square">
            <a:spAutoFit/>
          </a:bodyPr>
          <a:lstStyle>
            <a:lvl1pPr>
              <a:defRPr/>
            </a:lvl1pPr>
          </a:lstStyle>
          <a:p>
            <a:r>
              <a:rPr lang="en-US"/>
              <a:t>&lt;&lt;Title&gt;&gt;</a:t>
            </a:r>
          </a:p>
        </p:txBody>
      </p:sp>
      <p:sp>
        <p:nvSpPr>
          <p:cNvPr id="19" name="Rectangle 18">
            <a:extLst>
              <a:ext uri="{FF2B5EF4-FFF2-40B4-BE49-F238E27FC236}">
                <a16:creationId xmlns:a16="http://schemas.microsoft.com/office/drawing/2014/main" id="{6E464225-8FF9-4E57-91AE-E635AF8F685F}"/>
              </a:ext>
            </a:extLst>
          </p:cNvPr>
          <p:cNvSpPr/>
          <p:nvPr userDrawn="1"/>
        </p:nvSpPr>
        <p:spPr>
          <a:xfrm>
            <a:off x="274319" y="292608"/>
            <a:ext cx="1371917" cy="914400"/>
          </a:xfrm>
          <a:prstGeom prst="rect">
            <a:avLst/>
          </a:prstGeom>
        </p:spPr>
        <p:txBody>
          <a:bodyPr wrap="square" lIns="146304" tIns="91440" rIns="146304" bIns="91440">
            <a:spAutoFit/>
          </a:bodyPr>
          <a:lstStyle/>
          <a:p>
            <a:pPr lvl="0"/>
            <a:r>
              <a:rPr lang="en-US" sz="4800">
                <a:latin typeface="+mj-lt"/>
              </a:rPr>
              <a:t>Lab:</a:t>
            </a:r>
          </a:p>
        </p:txBody>
      </p:sp>
      <p:sp>
        <p:nvSpPr>
          <p:cNvPr id="21" name="Text Placeholder 20">
            <a:extLst>
              <a:ext uri="{FF2B5EF4-FFF2-40B4-BE49-F238E27FC236}">
                <a16:creationId xmlns:a16="http://schemas.microsoft.com/office/drawing/2014/main" id="{ABB79E9C-BC1E-460B-90F1-21BC5540F4FA}"/>
              </a:ext>
            </a:extLst>
          </p:cNvPr>
          <p:cNvSpPr>
            <a:spLocks noGrp="1"/>
          </p:cNvSpPr>
          <p:nvPr>
            <p:ph type="body" sz="quarter" idx="12" hasCustomPrompt="1"/>
          </p:nvPr>
        </p:nvSpPr>
        <p:spPr>
          <a:xfrm>
            <a:off x="274637" y="3017520"/>
            <a:ext cx="5486401" cy="3657600"/>
          </a:xfrm>
        </p:spPr>
        <p:txBody>
          <a:bodyPr/>
          <a:lstStyle>
            <a:lvl1pPr marL="0" marR="0" indent="0" algn="l" defTabSz="932742" rtl="0" eaLnBrk="1" fontAlgn="auto" latinLnBrk="0" hangingPunct="1">
              <a:lnSpc>
                <a:spcPct val="100000"/>
              </a:lnSpc>
              <a:spcBef>
                <a:spcPts val="0"/>
              </a:spcBef>
              <a:spcAft>
                <a:spcPts val="0"/>
              </a:spcAft>
              <a:buClrTx/>
              <a:buSzTx/>
              <a:buFontTx/>
              <a:buNone/>
              <a:tabLst/>
              <a:defRPr lang="en-US" sz="3600" b="1" i="0" baseline="0" dirty="0">
                <a:latin typeface="+mj-lt"/>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05050"/>
                </a:solidFill>
                <a:effectLst/>
                <a:uLnTx/>
                <a:uFillTx/>
                <a:latin typeface="+mj-lt"/>
                <a:ea typeface="+mn-ea"/>
                <a:cs typeface="+mn-cs"/>
              </a:rPr>
              <a:t>&lt;&lt; Add Lab Exercises </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1: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Exercise 2: Description</a:t>
            </a:r>
            <a:br>
              <a:rPr kumimoji="0" lang="en-US" sz="3200" b="0" i="0" u="none" strike="noStrike" kern="1200" cap="none" spc="0" normalizeH="0" baseline="0" noProof="0">
                <a:ln>
                  <a:noFill/>
                </a:ln>
                <a:solidFill>
                  <a:srgbClr val="505050"/>
                </a:solidFill>
                <a:effectLst/>
                <a:uLnTx/>
                <a:uFillTx/>
                <a:latin typeface="+mj-lt"/>
                <a:ea typeface="+mn-ea"/>
                <a:cs typeface="+mn-cs"/>
              </a:rPr>
            </a:br>
            <a:r>
              <a:rPr kumimoji="0" lang="en-US" sz="3200" b="0" i="0" u="none" strike="noStrike" kern="1200" cap="none" spc="0" normalizeH="0" baseline="0" noProof="0">
                <a:ln>
                  <a:noFill/>
                </a:ln>
                <a:solidFill>
                  <a:srgbClr val="505050"/>
                </a:solidFill>
                <a:effectLst/>
                <a:uLnTx/>
                <a:uFillTx/>
                <a:latin typeface="+mj-lt"/>
                <a:ea typeface="+mn-ea"/>
                <a:cs typeface="+mn-cs"/>
              </a:rPr>
              <a:t>&gt;&g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5177970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14400"/>
          </a:xfrm>
          <a:prstGeom prst="rect">
            <a:avLst/>
          </a:prstGeom>
        </p:spPr>
        <p:txBody>
          <a:bodyPr wrap="square" lIns="146304" tIns="91440" rIns="146304" bIns="91440">
            <a:noAutofit/>
          </a:bodyPr>
          <a:lstStyle/>
          <a:p>
            <a:r>
              <a:rPr lang="en-US" sz="4800">
                <a:solidFill>
                  <a:schemeClr val="accent3"/>
                </a:solidFill>
                <a:latin typeface="+mj-lt"/>
              </a:rPr>
              <a:t>Knowledge Check</a:t>
            </a:r>
            <a:endParaRPr lang="en-US" sz="480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a:t>&lt;&lt;Question: &gt;&gt;</a:t>
            </a:r>
            <a:br>
              <a:rPr lang="en-US"/>
            </a:br>
            <a:r>
              <a:rPr lang="en-US"/>
              <a:t> &lt;&lt;Answer:&gt;&gt;</a:t>
            </a:r>
          </a:p>
        </p:txBody>
      </p:sp>
    </p:spTree>
    <p:extLst>
      <p:ext uri="{BB962C8B-B14F-4D97-AF65-F5344CB8AC3E}">
        <p14:creationId xmlns:p14="http://schemas.microsoft.com/office/powerpoint/2010/main" val="1602244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Summa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E5CC4F-723D-4097-A367-2BEBAB8CF36C}"/>
              </a:ext>
            </a:extLst>
          </p:cNvPr>
          <p:cNvSpPr/>
          <p:nvPr userDrawn="1"/>
        </p:nvSpPr>
        <p:spPr>
          <a:xfrm>
            <a:off x="272272" y="295272"/>
            <a:ext cx="11889564" cy="923330"/>
          </a:xfrm>
          <a:prstGeom prst="rect">
            <a:avLst/>
          </a:prstGeom>
        </p:spPr>
        <p:txBody>
          <a:bodyPr wrap="square" lIns="146304" tIns="91440" rIns="146304" bIns="91440">
            <a:noAutofit/>
          </a:bodyPr>
          <a:lstStyle/>
          <a:p>
            <a:r>
              <a:rPr lang="en-US" sz="4800">
                <a:solidFill>
                  <a:schemeClr val="accent3"/>
                </a:solidFill>
                <a:latin typeface="+mj-lt"/>
              </a:rPr>
              <a:t>Module Summary</a:t>
            </a:r>
            <a:endParaRPr lang="en-US" sz="4800">
              <a:latin typeface="+mj-lt"/>
            </a:endParaRPr>
          </a:p>
        </p:txBody>
      </p:sp>
      <p:sp>
        <p:nvSpPr>
          <p:cNvPr id="5" name="Text Placeholder 4">
            <a:extLst>
              <a:ext uri="{FF2B5EF4-FFF2-40B4-BE49-F238E27FC236}">
                <a16:creationId xmlns:a16="http://schemas.microsoft.com/office/drawing/2014/main" id="{12AA7DFC-B089-4EFF-9CC5-F42DCAB1B648}"/>
              </a:ext>
            </a:extLst>
          </p:cNvPr>
          <p:cNvSpPr>
            <a:spLocks noGrp="1"/>
          </p:cNvSpPr>
          <p:nvPr>
            <p:ph type="body" sz="quarter" idx="10" hasCustomPrompt="1"/>
          </p:nvPr>
        </p:nvSpPr>
        <p:spPr>
          <a:xfrm>
            <a:off x="274320" y="1211262"/>
            <a:ext cx="11734800" cy="5487989"/>
          </a:xfrm>
        </p:spPr>
        <p:txBody>
          <a:bodyPr/>
          <a:lstStyle>
            <a:lvl1pPr>
              <a:defRPr/>
            </a:lvl1pPr>
            <a:lvl2pPr>
              <a:defRPr/>
            </a:lvl2pPr>
          </a:lstStyle>
          <a:p>
            <a:pPr lvl="0"/>
            <a:r>
              <a:rPr lang="en-US"/>
              <a:t>&lt;&lt;Key takeaways from the Module&gt;&gt;</a:t>
            </a:r>
          </a:p>
        </p:txBody>
      </p:sp>
    </p:spTree>
    <p:extLst>
      <p:ext uri="{BB962C8B-B14F-4D97-AF65-F5344CB8AC3E}">
        <p14:creationId xmlns:p14="http://schemas.microsoft.com/office/powerpoint/2010/main" val="480667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tmplLst>
          <p:tmpl lvl="1">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 lvl="2">
            <p:tnLst>
              <p:par>
                <p:cTn presetID="2" presetClass="entr" presetSubtype="4" fill="hold" nodeType="click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500" fill="hold"/>
                        <p:tgtEl>
                          <p:spTgt spid="5"/>
                        </p:tgtEl>
                        <p:attrNameLst>
                          <p:attrName>ppt_x</p:attrName>
                        </p:attrNameLst>
                      </p:cBhvr>
                      <p:tavLst>
                        <p:tav tm="0">
                          <p:val>
                            <p:strVal val="#ppt_x"/>
                          </p:val>
                        </p:tav>
                        <p:tav tm="100000">
                          <p:val>
                            <p:strVal val="#ppt_x"/>
                          </p:val>
                        </p:tav>
                      </p:tavLst>
                    </p:anim>
                    <p:anim calcmode="lin" valueType="num">
                      <p:cBhvr additive="base">
                        <p:cTn dur="500" fill="hold"/>
                        <p:tgtEl>
                          <p:spTgt spid="5"/>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4880010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BULLETED LIST">
    <p:bg>
      <p:bgRef idx="1001">
        <a:schemeClr val="bg1"/>
      </p:bgRef>
    </p:bg>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46567" y="1730194"/>
            <a:ext cx="10989103" cy="3044250"/>
          </a:xfrm>
        </p:spPr>
        <p:txBody>
          <a:bodyPr lIns="0" tIns="0" rIns="0" bIns="0">
            <a:noAutofit/>
          </a:bodyPr>
          <a:lstStyle>
            <a:lvl1pPr marL="169828" marR="0" indent="-169828" algn="l" defTabSz="508525" rtl="0" eaLnBrk="1" fontAlgn="auto" latinLnBrk="0" hangingPunct="1">
              <a:lnSpc>
                <a:spcPct val="114000"/>
              </a:lnSpc>
              <a:spcBef>
                <a:spcPts val="1199"/>
              </a:spcBef>
              <a:spcAft>
                <a:spcPts val="0"/>
              </a:spcAft>
              <a:buClr>
                <a:schemeClr val="accent4"/>
              </a:buClr>
              <a:buSzTx/>
              <a:buFont typeface="Arial" panose="020B0604020202020204" pitchFamily="34" charset="0"/>
              <a:buChar char="•"/>
              <a:tabLst/>
              <a:defRPr lang="en-US" sz="2000"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52345" indent="-285692" algn="l" defTabSz="508525" rtl="0" eaLnBrk="1" latinLnBrk="0" hangingPunct="1">
              <a:lnSpc>
                <a:spcPct val="114000"/>
              </a:lnSpc>
              <a:spcBef>
                <a:spcPts val="1199"/>
              </a:spcBef>
              <a:spcAft>
                <a:spcPts val="0"/>
              </a:spcAft>
              <a:buFont typeface="Arial" panose="020B0604020202020204" pitchFamily="34" charset="0"/>
              <a:buChar char="•"/>
              <a:defRPr lang="en-US" sz="2000" kern="1200" dirty="0" smtClean="0">
                <a:solidFill>
                  <a:schemeClr val="tx1"/>
                </a:solidFill>
                <a:latin typeface="+mn-lt"/>
                <a:ea typeface="+mn-ea"/>
                <a:cs typeface="+mn-cs"/>
              </a:defRPr>
            </a:lvl2pPr>
            <a:lvl3pPr marL="618997" indent="-285692" algn="l" defTabSz="508525" rtl="0" eaLnBrk="1" latinLnBrk="0" hangingPunct="1">
              <a:lnSpc>
                <a:spcPct val="114000"/>
              </a:lnSpc>
              <a:spcBef>
                <a:spcPts val="1199"/>
              </a:spcBef>
              <a:spcAft>
                <a:spcPts val="0"/>
              </a:spcAft>
              <a:buClr>
                <a:schemeClr val="accent4"/>
              </a:buClr>
              <a:buFont typeface="Arial" panose="020B0604020202020204" pitchFamily="34" charset="0"/>
              <a:buChar char="•"/>
              <a:defRPr lang="en-US" sz="2000" kern="1200" baseline="0" dirty="0" smtClean="0">
                <a:solidFill>
                  <a:schemeClr val="tx1"/>
                </a:solidFill>
                <a:latin typeface="+mn-lt"/>
                <a:ea typeface="+mn-ea"/>
                <a:cs typeface="+mn-cs"/>
              </a:defRPr>
            </a:lvl3pPr>
            <a:lvl4pPr marL="787239" indent="-285692" algn="l" defTabSz="508525" rtl="0" eaLnBrk="1" latinLnBrk="0" hangingPunct="1">
              <a:lnSpc>
                <a:spcPct val="114000"/>
              </a:lnSpc>
              <a:spcBef>
                <a:spcPts val="1199"/>
              </a:spcBef>
              <a:spcAft>
                <a:spcPts val="0"/>
              </a:spcAft>
              <a:buNone/>
              <a:defRPr lang="en-US" sz="2000" kern="1200" dirty="0">
                <a:solidFill>
                  <a:schemeClr val="tx1"/>
                </a:solidFill>
                <a:latin typeface="+mn-lt"/>
                <a:ea typeface="+mn-ea"/>
                <a:cs typeface="+mn-cs"/>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9828" lvl="0" indent="-169828" algn="l" defTabSz="508525"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41244" lvl="1" indent="-174589" algn="l" defTabSz="508525" rtl="0" eaLnBrk="1" latinLnBrk="0" hangingPunct="1">
              <a:spcBef>
                <a:spcPct val="20000"/>
              </a:spcBef>
              <a:buClr>
                <a:schemeClr val="accent4"/>
              </a:buClr>
              <a:buFont typeface="Arial" panose="020B0604020202020204" pitchFamily="34" charset="0"/>
              <a:buChar char="•"/>
            </a:pPr>
            <a:r>
              <a:rPr lang="en-US"/>
              <a:t>Level 2</a:t>
            </a:r>
          </a:p>
          <a:p>
            <a:pPr marL="511071" lvl="2" indent="-177762" algn="l" defTabSz="508525" rtl="0" eaLnBrk="1" latinLnBrk="0" hangingPunct="1">
              <a:spcBef>
                <a:spcPct val="20000"/>
              </a:spcBef>
              <a:buClr>
                <a:schemeClr val="accent4"/>
              </a:buClr>
              <a:buFont typeface="Arial" panose="020B0604020202020204" pitchFamily="34" charset="0"/>
              <a:buChar char="•"/>
            </a:pPr>
            <a:r>
              <a:rPr lang="en-US"/>
              <a:t>Level 3</a:t>
            </a:r>
          </a:p>
          <a:p>
            <a:pPr marL="634870" lvl="3" indent="-133322" algn="l" defTabSz="508525"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400979" y="347969"/>
            <a:ext cx="11036744" cy="781585"/>
          </a:xfrm>
        </p:spPr>
        <p:txBody>
          <a:bodyPr lIns="0" tIns="0" rIns="0" bIns="0" anchor="t" anchorCtr="0">
            <a:noAutofit/>
          </a:bodyPr>
          <a:lstStyle>
            <a:lvl1pPr marL="0" indent="0" algn="l" defTabSz="508525" rtl="0" eaLnBrk="1" latinLnBrk="0" hangingPunct="1">
              <a:lnSpc>
                <a:spcPct val="90000"/>
              </a:lnSpc>
              <a:spcBef>
                <a:spcPts val="0"/>
              </a:spcBef>
              <a:spcAft>
                <a:spcPts val="0"/>
              </a:spcAft>
              <a:buFont typeface="Arial"/>
              <a:buNone/>
              <a:defRPr lang="en-US" sz="5399" b="0" kern="1200" cap="none" spc="-100" baseline="0" dirty="0">
                <a:solidFill>
                  <a:schemeClr val="tx1"/>
                </a:solidFill>
                <a:latin typeface="+mj-lt"/>
                <a:ea typeface="+mn-ea"/>
                <a:cs typeface="Segoe UI" panose="020B0502040204020203" pitchFamily="34" charset="0"/>
              </a:defRPr>
            </a:lvl1pPr>
            <a:lvl2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508525" rtl="0" eaLnBrk="1" latinLnBrk="0" hangingPunct="1">
              <a:lnSpc>
                <a:spcPct val="90000"/>
              </a:lnSpc>
              <a:spcAft>
                <a:spcPts val="417"/>
              </a:spcAft>
              <a:buNone/>
              <a:defRPr lang="en-US" sz="1391" b="1" kern="1200" cap="all" spc="209"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508525" rtl="0" eaLnBrk="1" latinLnBrk="0" hangingPunct="1">
              <a:lnSpc>
                <a:spcPct val="90000"/>
              </a:lnSpc>
              <a:spcAft>
                <a:spcPts val="417"/>
              </a:spcAft>
              <a:buNone/>
              <a:defRPr lang="en-US" sz="1391" b="1" kern="1200" cap="all" spc="209"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custDataLst>
      <p:tags r:id="rId1"/>
    </p:custDataLst>
    <p:extLst>
      <p:ext uri="{BB962C8B-B14F-4D97-AF65-F5344CB8AC3E}">
        <p14:creationId xmlns:p14="http://schemas.microsoft.com/office/powerpoint/2010/main" val="488463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38586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9876" y="464539"/>
            <a:ext cx="10412041" cy="1148235"/>
          </a:xfrm>
        </p:spPr>
        <p:txBody>
          <a:bodyPr anchor="ctr">
            <a:normAutofit/>
          </a:bodyPr>
          <a:lstStyle>
            <a:lvl1pPr algn="l">
              <a:defRPr sz="4896"/>
            </a:lvl1pPr>
          </a:lstStyle>
          <a:p>
            <a:r>
              <a:rPr lang="en-US"/>
              <a:t>Click to edit Master title style</a:t>
            </a:r>
          </a:p>
        </p:txBody>
      </p:sp>
    </p:spTree>
    <p:extLst>
      <p:ext uri="{BB962C8B-B14F-4D97-AF65-F5344CB8AC3E}">
        <p14:creationId xmlns:p14="http://schemas.microsoft.com/office/powerpoint/2010/main" val="33703596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107467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089228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193173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50"/>
            <a:ext cx="11889564" cy="1969770"/>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973276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9178443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3479" y="-208004"/>
            <a:ext cx="588653" cy="156952"/>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1048459"/>
      </p:ext>
    </p:extLst>
  </p:cSld>
  <p:clrMapOvr>
    <a:masterClrMapping/>
  </p:clrMapOvr>
  <p:transition>
    <p:fade/>
  </p:transition>
  <p:extLst>
    <p:ext uri="{DCECCB84-F9BA-43D5-87BE-67443E8EF086}">
      <p15:sldGuideLst xmlns:p15="http://schemas.microsoft.com/office/powerpoint/2012/main">
        <p15:guide id="2" orient="horz" pos="1297" userDrawn="1">
          <p15:clr>
            <a:srgbClr val="5ACBF0"/>
          </p15:clr>
        </p15:guide>
        <p15:guide id="3" orient="horz" pos="294" userDrawn="1">
          <p15:clr>
            <a:srgbClr val="5ACBF0"/>
          </p15:clr>
        </p15:guide>
        <p15:guide id="5" orient="horz" pos="922"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98148" y="1462925"/>
            <a:ext cx="11239464" cy="1644855"/>
          </a:xfrm>
        </p:spPr>
        <p:txBody>
          <a:bodyPr wrap="square">
            <a:spAutoFit/>
          </a:bodyPr>
          <a:lstStyle>
            <a:lvl1pPr marL="0" indent="0">
              <a:buNone/>
              <a:defRPr>
                <a:solidFill>
                  <a:schemeClr val="bg1"/>
                </a:solidFill>
              </a:defRPr>
            </a:lvl1pPr>
            <a:lvl2pPr marL="233149" indent="0">
              <a:buNone/>
              <a:defRPr>
                <a:solidFill>
                  <a:schemeClr val="bg1"/>
                </a:solidFill>
              </a:defRPr>
            </a:lvl2pPr>
            <a:lvl3pPr marL="466298" indent="0">
              <a:buNone/>
              <a:defRPr>
                <a:solidFill>
                  <a:schemeClr val="bg1"/>
                </a:solidFill>
              </a:defRPr>
            </a:lvl3pPr>
            <a:lvl4pPr marL="699447" indent="0">
              <a:buNone/>
              <a:defRPr>
                <a:solidFill>
                  <a:schemeClr val="bg1"/>
                </a:solidFill>
              </a:defRPr>
            </a:lvl4pPr>
            <a:lvl5pPr marL="932597"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4244941"/>
      </p:ext>
    </p:extLst>
  </p:cSld>
  <p:clrMapOvr>
    <a:masterClrMapping/>
  </p:clrMapOvr>
  <p:transition>
    <p:fade/>
  </p:transition>
  <p:extLst>
    <p:ext uri="{DCECCB84-F9BA-43D5-87BE-67443E8EF086}">
      <p15:sldGuideLst xmlns:p15="http://schemas.microsoft.com/office/powerpoint/2012/main">
        <p15:guide id="1" orient="horz" pos="294" userDrawn="1">
          <p15:clr>
            <a:srgbClr val="5ACBF0"/>
          </p15:clr>
        </p15:guide>
        <p15:guide id="2" orient="horz" pos="923" userDrawn="1">
          <p15:clr>
            <a:srgbClr val="5ACBF0"/>
          </p15:clr>
        </p15:guide>
        <p15:guide id="4" orient="horz" pos="1297"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603479" y="-208004"/>
            <a:ext cx="588653" cy="156952"/>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2922939862"/>
      </p:ext>
    </p:extLst>
  </p:cSld>
  <p:clrMapOvr>
    <a:masterClrMapping/>
  </p:clrMapOvr>
  <p:transition>
    <p:fade/>
  </p:transition>
  <p:extLst>
    <p:ext uri="{DCECCB84-F9BA-43D5-87BE-67443E8EF086}">
      <p15:sldGuideLst xmlns:p15="http://schemas.microsoft.com/office/powerpoint/2012/main">
        <p15:guide id="1" orient="horz" pos="294" userDrawn="1">
          <p15:clr>
            <a:srgbClr val="5ACBF0"/>
          </p15:clr>
        </p15:guide>
        <p15:guide id="2" orient="horz" pos="1301" userDrawn="1">
          <p15:clr>
            <a:srgbClr val="5ACBF0"/>
          </p15:clr>
        </p15:guide>
        <p15:guide id="3" orient="horz" pos="923" userDrawn="1">
          <p15:clr>
            <a:srgbClr val="5ACBF0"/>
          </p15:clr>
        </p15:guide>
        <p15:guide id="4" pos="3733" userDrawn="1">
          <p15:clr>
            <a:srgbClr val="5ACBF0"/>
          </p15:clr>
        </p15:guide>
        <p15:guide id="5" pos="4105"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900" b="0">
                <a:solidFill>
                  <a:schemeClr val="bg1"/>
                </a:solidFill>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00" b="0">
                <a:solidFill>
                  <a:schemeClr val="bg1"/>
                </a:solidFill>
              </a:defRPr>
            </a:lvl2pPr>
            <a:lvl3pPr marL="459822" indent="0">
              <a:buFont typeface="Wingdings" panose="05000000000000000000" pitchFamily="2" charset="2"/>
              <a:buNone/>
              <a:tabLst/>
              <a:defRPr sz="1600" b="0">
                <a:solidFill>
                  <a:schemeClr val="bg1"/>
                </a:solidFill>
              </a:defRPr>
            </a:lvl3pPr>
            <a:lvl4pPr marL="665446" indent="0">
              <a:buFont typeface="Wingdings" panose="05000000000000000000" pitchFamily="2" charset="2"/>
              <a:buNone/>
              <a:defRPr sz="1400" b="0">
                <a:solidFill>
                  <a:schemeClr val="bg1"/>
                </a:solidFill>
              </a:defRPr>
            </a:lvl4pPr>
            <a:lvl5pPr marL="871071" indent="0">
              <a:buFont typeface="Wingdings" panose="05000000000000000000" pitchFamily="2" charset="2"/>
              <a:buNone/>
              <a:tabLst/>
              <a:defRPr sz="14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900" b="0">
                <a:solidFill>
                  <a:schemeClr val="bg1"/>
                </a:solidFill>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00" b="0">
                <a:solidFill>
                  <a:schemeClr val="bg1"/>
                </a:solidFill>
              </a:defRPr>
            </a:lvl2pPr>
            <a:lvl3pPr marL="459822" indent="0">
              <a:buFont typeface="Wingdings" panose="05000000000000000000" pitchFamily="2" charset="2"/>
              <a:buNone/>
              <a:tabLst/>
              <a:defRPr sz="1600" b="0">
                <a:solidFill>
                  <a:schemeClr val="bg1"/>
                </a:solidFill>
              </a:defRPr>
            </a:lvl3pPr>
            <a:lvl4pPr marL="665446" indent="0">
              <a:buFont typeface="Wingdings" panose="05000000000000000000" pitchFamily="2" charset="2"/>
              <a:buNone/>
              <a:defRPr sz="1400" b="0">
                <a:solidFill>
                  <a:schemeClr val="bg1"/>
                </a:solidFill>
              </a:defRPr>
            </a:lvl4pPr>
            <a:lvl5pPr marL="871071" indent="0">
              <a:buFont typeface="Wingdings" panose="05000000000000000000" pitchFamily="2" charset="2"/>
              <a:buNone/>
              <a:tabLst/>
              <a:defRPr sz="14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3373217"/>
      </p:ext>
    </p:extLst>
  </p:cSld>
  <p:clrMapOvr>
    <a:masterClrMapping/>
  </p:clrMapOvr>
  <p:transition>
    <p:fade/>
  </p:transition>
  <p:extLst>
    <p:ext uri="{DCECCB84-F9BA-43D5-87BE-67443E8EF086}">
      <p15:sldGuideLst xmlns:p15="http://schemas.microsoft.com/office/powerpoint/2012/main">
        <p15:guide id="1" orient="horz" pos="294" userDrawn="1">
          <p15:clr>
            <a:srgbClr val="5ACBF0"/>
          </p15:clr>
        </p15:guide>
        <p15:guide id="2" orient="horz" pos="1297" userDrawn="1">
          <p15:clr>
            <a:srgbClr val="5ACBF0"/>
          </p15:clr>
        </p15:guide>
        <p15:guide id="3" orient="horz" pos="921" userDrawn="1">
          <p15:clr>
            <a:srgbClr val="5ACBF0"/>
          </p15:clr>
        </p15:guide>
        <p15:guide id="4" pos="3729" userDrawn="1">
          <p15:clr>
            <a:srgbClr val="5ACBF0"/>
          </p15:clr>
        </p15:guide>
        <p15:guide id="5" pos="4105"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spAutoFit/>
          </a:bodyPr>
          <a:lstStyle>
            <a:lvl1pPr>
              <a:defRPr>
                <a:solidFill>
                  <a:schemeClr val="bg1"/>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95914" y="1465289"/>
            <a:ext cx="5324366" cy="446276"/>
          </a:xfrm>
        </p:spPr>
        <p:txBody>
          <a:bodyPr anchor="t"/>
          <a:lstStyle>
            <a:lvl1pPr marL="0" indent="0">
              <a:spcBef>
                <a:spcPts val="0"/>
              </a:spcBef>
              <a:buNone/>
              <a:defRPr sz="2900">
                <a:solidFill>
                  <a:schemeClr val="bg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95914" y="2125883"/>
            <a:ext cx="5324366" cy="1551194"/>
          </a:xfrm>
        </p:spPr>
        <p:txBody>
          <a:bodyPr>
            <a:spAutoFit/>
          </a:bodyPr>
          <a:lstStyle>
            <a:lvl1pPr marL="174862" indent="-174862">
              <a:defRPr lang="en-US" sz="2400" dirty="0">
                <a:solidFill>
                  <a:schemeClr val="bg1"/>
                </a:solidFill>
              </a:defRPr>
            </a:lvl1pPr>
            <a:lvl2pPr marL="349724" indent="-174862">
              <a:defRPr lang="en-US" dirty="0">
                <a:solidFill>
                  <a:schemeClr val="bg1"/>
                </a:solidFill>
              </a:defRPr>
            </a:lvl2pPr>
            <a:lvl3pPr marL="524586" indent="-174862">
              <a:defRPr lang="en-US" dirty="0">
                <a:solidFill>
                  <a:schemeClr val="bg1"/>
                </a:solidFill>
              </a:defRPr>
            </a:lvl3pPr>
            <a:lvl4pPr marL="680018" indent="-155433">
              <a:defRPr lang="en-US" dirty="0">
                <a:solidFill>
                  <a:schemeClr val="bg1"/>
                </a:solidFill>
              </a:defRPr>
            </a:lvl4pPr>
            <a:lvl5pPr marL="809546" indent="-123051">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525911" y="1465289"/>
            <a:ext cx="5324366" cy="446276"/>
          </a:xfrm>
        </p:spPr>
        <p:txBody>
          <a:bodyPr anchor="t"/>
          <a:lstStyle>
            <a:lvl1pPr marL="0" indent="0">
              <a:spcBef>
                <a:spcPts val="0"/>
              </a:spcBef>
              <a:buNone/>
              <a:defRPr sz="2900">
                <a:solidFill>
                  <a:schemeClr val="bg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525911" y="2125883"/>
            <a:ext cx="5324366" cy="1551194"/>
          </a:xfrm>
        </p:spPr>
        <p:txBody>
          <a:bodyPr>
            <a:spAutoFit/>
          </a:bodyPr>
          <a:lstStyle>
            <a:lvl1pPr marL="174862" indent="-174862">
              <a:defRPr lang="en-US" sz="2400" dirty="0">
                <a:solidFill>
                  <a:schemeClr val="bg1"/>
                </a:solidFill>
              </a:defRPr>
            </a:lvl1pPr>
            <a:lvl2pPr marL="349724" indent="-174862">
              <a:defRPr lang="en-US" dirty="0">
                <a:solidFill>
                  <a:schemeClr val="bg1"/>
                </a:solidFill>
              </a:defRPr>
            </a:lvl2pPr>
            <a:lvl3pPr marL="524586" indent="-174862">
              <a:defRPr lang="en-US" dirty="0">
                <a:solidFill>
                  <a:schemeClr val="bg1"/>
                </a:solidFill>
              </a:defRPr>
            </a:lvl3pPr>
            <a:lvl4pPr marL="699447" indent="-139242">
              <a:defRPr lang="en-US" dirty="0">
                <a:solidFill>
                  <a:schemeClr val="bg1"/>
                </a:solidFill>
              </a:defRPr>
            </a:lvl4pPr>
            <a:lvl5pPr marL="809546" indent="-123051">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5401396"/>
      </p:ext>
    </p:extLst>
  </p:cSld>
  <p:clrMapOvr>
    <a:masterClrMapping/>
  </p:clrMapOvr>
  <p:transition>
    <p:fade/>
  </p:transition>
  <p:extLst>
    <p:ext uri="{DCECCB84-F9BA-43D5-87BE-67443E8EF086}">
      <p15:sldGuideLst xmlns:p15="http://schemas.microsoft.com/office/powerpoint/2012/main">
        <p15:guide id="1" orient="horz" pos="294" userDrawn="1">
          <p15:clr>
            <a:srgbClr val="5ACBF0"/>
          </p15:clr>
        </p15:guide>
        <p15:guide id="2" orient="horz" pos="1337" userDrawn="1">
          <p15:clr>
            <a:srgbClr val="5ACBF0"/>
          </p15:clr>
        </p15:guide>
        <p15:guide id="4" pos="3729" userDrawn="1">
          <p15:clr>
            <a:srgbClr val="5ACBF0"/>
          </p15:clr>
        </p15:guide>
        <p15:guide id="5" pos="4105" userDrawn="1">
          <p15:clr>
            <a:srgbClr val="5ACBF0"/>
          </p15:clr>
        </p15:guide>
        <p15:guide id="7" orient="horz" pos="923"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27"/>
          </a:xfrm>
        </p:spPr>
        <p:txBody>
          <a:bodyPr>
            <a:spAutoFit/>
          </a:bodyPr>
          <a:lstStyle>
            <a:lvl1pPr>
              <a:defRPr>
                <a:solidFill>
                  <a:schemeClr val="bg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96952" y="1466907"/>
            <a:ext cx="3329866" cy="753369"/>
          </a:xfrm>
        </p:spPr>
        <p:txBody>
          <a:bodyPr anchor="t"/>
          <a:lstStyle>
            <a:lvl1pPr marL="0" indent="0">
              <a:spcBef>
                <a:spcPts val="0"/>
              </a:spcBef>
              <a:buNone/>
              <a:defRPr sz="2400">
                <a:solidFill>
                  <a:schemeClr val="bg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96952" y="2438369"/>
            <a:ext cx="3329866" cy="1795529"/>
          </a:xfrm>
        </p:spPr>
        <p:txBody>
          <a:bodyPr wrap="square">
            <a:spAutoFit/>
          </a:bodyPr>
          <a:lstStyle>
            <a:lvl1pPr marL="179720" indent="-179720">
              <a:defRPr lang="en-US" sz="2000" dirty="0">
                <a:solidFill>
                  <a:schemeClr val="bg1"/>
                </a:solidFill>
              </a:defRPr>
            </a:lvl1pPr>
            <a:lvl2pPr marL="328676" indent="-153814">
              <a:defRPr lang="en-US" sz="1800" dirty="0">
                <a:solidFill>
                  <a:schemeClr val="bg1"/>
                </a:solidFill>
              </a:defRPr>
            </a:lvl2pPr>
            <a:lvl3pPr marL="476013" indent="-140861">
              <a:defRPr lang="en-US" dirty="0">
                <a:solidFill>
                  <a:schemeClr val="bg1"/>
                </a:solidFill>
              </a:defRPr>
            </a:lvl3pPr>
            <a:lvl4pPr marL="607160" indent="-131147">
              <a:defRPr lang="en-US" dirty="0">
                <a:solidFill>
                  <a:schemeClr val="bg1"/>
                </a:solidFill>
              </a:defRPr>
            </a:lvl4pPr>
            <a:lvl5pPr marL="746402" indent="-124671">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553305" y="1466907"/>
            <a:ext cx="3329866" cy="753369"/>
          </a:xfrm>
        </p:spPr>
        <p:txBody>
          <a:bodyPr anchor="t"/>
          <a:lstStyle>
            <a:lvl1pPr marL="0" indent="0">
              <a:spcBef>
                <a:spcPts val="0"/>
              </a:spcBef>
              <a:buNone/>
              <a:defRPr sz="2400">
                <a:solidFill>
                  <a:schemeClr val="bg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553305" y="2431597"/>
            <a:ext cx="3329866" cy="1795529"/>
          </a:xfrm>
        </p:spPr>
        <p:txBody>
          <a:bodyPr wrap="square">
            <a:spAutoFit/>
          </a:bodyPr>
          <a:lstStyle>
            <a:lvl1pPr marL="179720" indent="-179720">
              <a:defRPr lang="en-US" sz="2000" dirty="0">
                <a:solidFill>
                  <a:schemeClr val="bg1"/>
                </a:solidFill>
              </a:defRPr>
            </a:lvl1pPr>
            <a:lvl2pPr marL="406392" indent="-173243">
              <a:defRPr lang="en-US" sz="1800" dirty="0">
                <a:solidFill>
                  <a:schemeClr val="bg1"/>
                </a:solidFill>
              </a:defRPr>
            </a:lvl2pPr>
            <a:lvl3pPr marL="566682" indent="-160291">
              <a:defRPr lang="en-US" dirty="0">
                <a:solidFill>
                  <a:schemeClr val="bg1"/>
                </a:solidFill>
              </a:defRPr>
            </a:lvl3pPr>
            <a:lvl4pPr marL="699447" indent="-139242">
              <a:defRPr lang="en-US" dirty="0">
                <a:solidFill>
                  <a:schemeClr val="bg1"/>
                </a:solidFill>
              </a:defRPr>
            </a:lvl4pPr>
            <a:lvl5pPr marL="816022" indent="-113336">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509657" y="1466907"/>
            <a:ext cx="3329866" cy="753369"/>
          </a:xfrm>
        </p:spPr>
        <p:txBody>
          <a:bodyPr anchor="t"/>
          <a:lstStyle>
            <a:lvl1pPr marL="0" indent="0">
              <a:spcBef>
                <a:spcPts val="0"/>
              </a:spcBef>
              <a:buNone/>
              <a:defRPr sz="2400">
                <a:solidFill>
                  <a:schemeClr val="bg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509657" y="2438369"/>
            <a:ext cx="3329866" cy="1795529"/>
          </a:xfrm>
        </p:spPr>
        <p:txBody>
          <a:bodyPr wrap="square">
            <a:spAutoFit/>
          </a:bodyPr>
          <a:lstStyle>
            <a:lvl1pPr marL="179720" indent="-179720">
              <a:defRPr lang="en-US" sz="2000" dirty="0">
                <a:solidFill>
                  <a:schemeClr val="bg1"/>
                </a:solidFill>
              </a:defRPr>
            </a:lvl1pPr>
            <a:lvl2pPr marL="406392" indent="-173243">
              <a:defRPr lang="en-US" sz="1800" dirty="0">
                <a:solidFill>
                  <a:schemeClr val="bg1"/>
                </a:solidFill>
              </a:defRPr>
            </a:lvl2pPr>
            <a:lvl3pPr marL="566682" indent="-160291">
              <a:defRPr lang="en-US" dirty="0">
                <a:solidFill>
                  <a:schemeClr val="bg1"/>
                </a:solidFill>
              </a:defRPr>
            </a:lvl3pPr>
            <a:lvl4pPr marL="699447" indent="-139242">
              <a:defRPr lang="en-US" dirty="0">
                <a:solidFill>
                  <a:schemeClr val="bg1"/>
                </a:solidFill>
              </a:defRPr>
            </a:lvl4pPr>
            <a:lvl5pPr marL="816022" indent="-113336">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2441119"/>
      </p:ext>
    </p:extLst>
  </p:cSld>
  <p:clrMapOvr>
    <a:masterClrMapping/>
  </p:clrMapOvr>
  <p:transition>
    <p:fade/>
  </p:transition>
  <p:extLst>
    <p:ext uri="{DCECCB84-F9BA-43D5-87BE-67443E8EF086}">
      <p15:sldGuideLst xmlns:p15="http://schemas.microsoft.com/office/powerpoint/2012/main">
        <p15:guide id="3" orient="horz" pos="1536" userDrawn="1">
          <p15:clr>
            <a:srgbClr val="5ACBF0"/>
          </p15:clr>
        </p15:guide>
        <p15:guide id="4" orient="horz" pos="924" userDrawn="1">
          <p15:clr>
            <a:srgbClr val="5ACBF0"/>
          </p15:clr>
        </p15:guide>
        <p15:guide id="5" orient="horz" pos="294" userDrawn="1">
          <p15:clr>
            <a:srgbClr val="5ACBF0"/>
          </p15:clr>
        </p15:guide>
        <p15:guide id="6" pos="2479" userDrawn="1">
          <p15:clr>
            <a:srgbClr val="5ACBF0"/>
          </p15:clr>
        </p15:guide>
        <p15:guide id="7" pos="2867" userDrawn="1">
          <p15:clr>
            <a:srgbClr val="5ACBF0"/>
          </p15:clr>
        </p15:guide>
        <p15:guide id="8" pos="4969" userDrawn="1">
          <p15:clr>
            <a:srgbClr val="5ACBF0"/>
          </p15:clr>
        </p15:guide>
        <p15:guide id="9" pos="5356"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95915" y="1466908"/>
            <a:ext cx="2582836" cy="627807"/>
          </a:xfrm>
        </p:spPr>
        <p:txBody>
          <a:bodyPr anchor="t"/>
          <a:lstStyle>
            <a:lvl1pPr marL="0" indent="0">
              <a:spcBef>
                <a:spcPts val="0"/>
              </a:spcBef>
              <a:buNone/>
              <a:defRPr sz="2000">
                <a:solidFill>
                  <a:schemeClr val="bg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95915" y="2328567"/>
            <a:ext cx="2582836" cy="1661993"/>
          </a:xfrm>
        </p:spPr>
        <p:txBody>
          <a:bodyPr wrap="square">
            <a:spAutoFit/>
          </a:bodyPr>
          <a:lstStyle>
            <a:lvl1pPr marL="144100" indent="-144100">
              <a:defRPr lang="en-US" sz="1800" dirty="0">
                <a:solidFill>
                  <a:schemeClr val="bg1"/>
                </a:solidFill>
              </a:defRPr>
            </a:lvl1pPr>
            <a:lvl2pPr marL="291436" indent="-127909">
              <a:defRPr lang="en-US" sz="1600" dirty="0">
                <a:solidFill>
                  <a:schemeClr val="bg1"/>
                </a:solidFill>
              </a:defRPr>
            </a:lvl2pPr>
            <a:lvl3pPr marL="446869" indent="-136004">
              <a:defRPr lang="en-US" dirty="0">
                <a:solidFill>
                  <a:schemeClr val="bg1"/>
                </a:solidFill>
              </a:defRPr>
            </a:lvl3pPr>
            <a:lvl4pPr marL="578016" indent="-116575">
              <a:defRPr lang="en-US" dirty="0">
                <a:solidFill>
                  <a:schemeClr val="bg1"/>
                </a:solidFill>
              </a:defRPr>
            </a:lvl4pPr>
            <a:lvl5pPr marL="699447" indent="-111718">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81565" y="1466908"/>
            <a:ext cx="2584455" cy="627807"/>
          </a:xfrm>
        </p:spPr>
        <p:txBody>
          <a:bodyPr anchor="t"/>
          <a:lstStyle>
            <a:lvl1pPr marL="0" indent="0">
              <a:spcBef>
                <a:spcPts val="0"/>
              </a:spcBef>
              <a:buNone/>
              <a:defRPr sz="2000">
                <a:solidFill>
                  <a:schemeClr val="bg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81566" y="2321794"/>
            <a:ext cx="2582836" cy="1661993"/>
          </a:xfrm>
        </p:spPr>
        <p:txBody>
          <a:bodyPr wrap="square">
            <a:spAutoFit/>
          </a:bodyPr>
          <a:lstStyle>
            <a:lvl1pPr marL="144100" indent="-144100">
              <a:defRPr lang="en-US" sz="1800" dirty="0">
                <a:solidFill>
                  <a:schemeClr val="bg1"/>
                </a:solidFill>
              </a:defRPr>
            </a:lvl1pPr>
            <a:lvl2pPr marL="291436" indent="-127909">
              <a:defRPr lang="en-US" sz="1600" dirty="0">
                <a:solidFill>
                  <a:schemeClr val="bg1"/>
                </a:solidFill>
              </a:defRPr>
            </a:lvl2pPr>
            <a:lvl3pPr marL="446869" indent="-136004">
              <a:defRPr lang="en-US" dirty="0">
                <a:solidFill>
                  <a:schemeClr val="bg1"/>
                </a:solidFill>
              </a:defRPr>
            </a:lvl3pPr>
            <a:lvl4pPr marL="578016" indent="-116575">
              <a:defRPr lang="en-US" dirty="0">
                <a:solidFill>
                  <a:schemeClr val="bg1"/>
                </a:solidFill>
              </a:defRPr>
            </a:lvl4pPr>
            <a:lvl5pPr marL="699447" indent="-111718">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369418" y="1466908"/>
            <a:ext cx="2582836" cy="627807"/>
          </a:xfrm>
        </p:spPr>
        <p:txBody>
          <a:bodyPr anchor="t"/>
          <a:lstStyle>
            <a:lvl1pPr marL="0" indent="0">
              <a:spcBef>
                <a:spcPts val="0"/>
              </a:spcBef>
              <a:buNone/>
              <a:defRPr sz="2000">
                <a:solidFill>
                  <a:schemeClr val="bg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369418" y="2328567"/>
            <a:ext cx="2582836" cy="1661993"/>
          </a:xfrm>
        </p:spPr>
        <p:txBody>
          <a:bodyPr wrap="square">
            <a:spAutoFit/>
          </a:bodyPr>
          <a:lstStyle>
            <a:lvl1pPr marL="144100" indent="-144100">
              <a:defRPr lang="en-US" sz="1800" dirty="0">
                <a:solidFill>
                  <a:schemeClr val="bg1"/>
                </a:solidFill>
              </a:defRPr>
            </a:lvl1pPr>
            <a:lvl2pPr marL="291436" indent="-127909">
              <a:defRPr lang="en-US" sz="1600" dirty="0">
                <a:solidFill>
                  <a:schemeClr val="bg1"/>
                </a:solidFill>
              </a:defRPr>
            </a:lvl2pPr>
            <a:lvl3pPr marL="446869" indent="-136004">
              <a:defRPr lang="en-US" dirty="0">
                <a:solidFill>
                  <a:schemeClr val="bg1"/>
                </a:solidFill>
              </a:defRPr>
            </a:lvl3pPr>
            <a:lvl4pPr marL="578016" indent="-116575">
              <a:defRPr lang="en-US" dirty="0">
                <a:solidFill>
                  <a:schemeClr val="bg1"/>
                </a:solidFill>
              </a:defRPr>
            </a:lvl4pPr>
            <a:lvl5pPr marL="699447" indent="-111718">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255068" y="1466908"/>
            <a:ext cx="2584455" cy="627807"/>
          </a:xfrm>
        </p:spPr>
        <p:txBody>
          <a:bodyPr anchor="t"/>
          <a:lstStyle>
            <a:lvl1pPr marL="0" indent="0">
              <a:spcBef>
                <a:spcPts val="0"/>
              </a:spcBef>
              <a:buNone/>
              <a:defRPr sz="2000">
                <a:solidFill>
                  <a:schemeClr val="bg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255069" y="2321794"/>
            <a:ext cx="2582836" cy="1661993"/>
          </a:xfrm>
        </p:spPr>
        <p:txBody>
          <a:bodyPr wrap="square">
            <a:spAutoFit/>
          </a:bodyPr>
          <a:lstStyle>
            <a:lvl1pPr marL="144100" indent="-144100">
              <a:defRPr lang="en-US" sz="1800" dirty="0">
                <a:solidFill>
                  <a:schemeClr val="bg1"/>
                </a:solidFill>
              </a:defRPr>
            </a:lvl1pPr>
            <a:lvl2pPr marL="291436" indent="-127909">
              <a:defRPr lang="en-US" sz="1600" dirty="0">
                <a:solidFill>
                  <a:schemeClr val="bg1"/>
                </a:solidFill>
              </a:defRPr>
            </a:lvl2pPr>
            <a:lvl3pPr marL="446869" indent="-136004">
              <a:defRPr lang="en-US" dirty="0">
                <a:solidFill>
                  <a:schemeClr val="bg1"/>
                </a:solidFill>
              </a:defRPr>
            </a:lvl3pPr>
            <a:lvl4pPr marL="578016" indent="-116575">
              <a:defRPr lang="en-US" dirty="0">
                <a:solidFill>
                  <a:schemeClr val="bg1"/>
                </a:solidFill>
              </a:defRPr>
            </a:lvl4pPr>
            <a:lvl5pPr marL="699447" indent="-111718">
              <a:defRPr lang="en-US"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9966456"/>
      </p:ext>
    </p:extLst>
  </p:cSld>
  <p:clrMapOvr>
    <a:masterClrMapping/>
  </p:clrMapOvr>
  <p:transition>
    <p:fade/>
  </p:transition>
  <p:extLst>
    <p:ext uri="{DCECCB84-F9BA-43D5-87BE-67443E8EF086}">
      <p15:sldGuideLst xmlns:p15="http://schemas.microsoft.com/office/powerpoint/2012/main">
        <p15:guide id="4" orient="horz" pos="924" userDrawn="1">
          <p15:clr>
            <a:srgbClr val="5ACBF0"/>
          </p15:clr>
        </p15:guide>
        <p15:guide id="5" orient="horz" pos="294" userDrawn="1">
          <p15:clr>
            <a:srgbClr val="5ACBF0"/>
          </p15:clr>
        </p15:guide>
        <p15:guide id="6" pos="2002" userDrawn="1">
          <p15:clr>
            <a:srgbClr val="5ACBF0"/>
          </p15:clr>
        </p15:guide>
        <p15:guide id="7" pos="2193" userDrawn="1">
          <p15:clr>
            <a:srgbClr val="5ACBF0"/>
          </p15:clr>
        </p15:guide>
        <p15:guide id="8" pos="3821" userDrawn="1">
          <p15:clr>
            <a:srgbClr val="5ACBF0"/>
          </p15:clr>
        </p15:guide>
        <p15:guide id="9" pos="4013" userDrawn="1">
          <p15:clr>
            <a:srgbClr val="5ACBF0"/>
          </p15:clr>
        </p15:guide>
        <p15:guide id="10" pos="5641" userDrawn="1">
          <p15:clr>
            <a:srgbClr val="5ACBF0"/>
          </p15:clr>
        </p15:guide>
        <p15:guide id="11" pos="5831" userDrawn="1">
          <p15:clr>
            <a:srgbClr val="5ACBF0"/>
          </p15:clr>
        </p15:guide>
        <p15:guide id="12" orient="horz" pos="1465"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77262263"/>
      </p:ext>
    </p:extLst>
  </p:cSld>
  <p:clrMapOvr>
    <a:masterClrMapping/>
  </p:clrMapOvr>
  <p:transition>
    <p:fade/>
  </p:transition>
  <p:extLst>
    <p:ext uri="{DCECCB84-F9BA-43D5-87BE-67443E8EF086}">
      <p15:sldGuideLst xmlns:p15="http://schemas.microsoft.com/office/powerpoint/2012/main">
        <p15:guide id="6" pos="795" userDrawn="1">
          <p15:clr>
            <a:srgbClr val="A4A3A4"/>
          </p15:clr>
        </p15:guide>
        <p15:guide id="7" pos="981" userDrawn="1">
          <p15:clr>
            <a:srgbClr val="A4A3A4"/>
          </p15:clr>
        </p15:guide>
        <p15:guide id="8" pos="1401" userDrawn="1">
          <p15:clr>
            <a:srgbClr val="A4A3A4"/>
          </p15:clr>
        </p15:guide>
        <p15:guide id="9" pos="1587" userDrawn="1">
          <p15:clr>
            <a:srgbClr val="A4A3A4"/>
          </p15:clr>
        </p15:guide>
        <p15:guide id="10" pos="2006" userDrawn="1">
          <p15:clr>
            <a:srgbClr val="A4A3A4"/>
          </p15:clr>
        </p15:guide>
        <p15:guide id="11" pos="2193" userDrawn="1">
          <p15:clr>
            <a:srgbClr val="A4A3A4"/>
          </p15:clr>
        </p15:guide>
        <p15:guide id="12" pos="2612" userDrawn="1">
          <p15:clr>
            <a:srgbClr val="A4A3A4"/>
          </p15:clr>
        </p15:guide>
        <p15:guide id="13" pos="2799" userDrawn="1">
          <p15:clr>
            <a:srgbClr val="A4A3A4"/>
          </p15:clr>
        </p15:guide>
        <p15:guide id="14" pos="3218" userDrawn="1">
          <p15:clr>
            <a:srgbClr val="A4A3A4"/>
          </p15:clr>
        </p15:guide>
        <p15:guide id="15" pos="3405" userDrawn="1">
          <p15:clr>
            <a:srgbClr val="A4A3A4"/>
          </p15:clr>
        </p15:guide>
        <p15:guide id="16" pos="3824" userDrawn="1">
          <p15:clr>
            <a:srgbClr val="A4A3A4"/>
          </p15:clr>
        </p15:guide>
        <p15:guide id="17" pos="4011" userDrawn="1">
          <p15:clr>
            <a:srgbClr val="A4A3A4"/>
          </p15:clr>
        </p15:guide>
        <p15:guide id="18" pos="4430" userDrawn="1">
          <p15:clr>
            <a:srgbClr val="A4A3A4"/>
          </p15:clr>
        </p15:guide>
        <p15:guide id="19" pos="4617" userDrawn="1">
          <p15:clr>
            <a:srgbClr val="A4A3A4"/>
          </p15:clr>
        </p15:guide>
        <p15:guide id="20" pos="5036" userDrawn="1">
          <p15:clr>
            <a:srgbClr val="A4A3A4"/>
          </p15:clr>
        </p15:guide>
        <p15:guide id="21" pos="5223" userDrawn="1">
          <p15:clr>
            <a:srgbClr val="A4A3A4"/>
          </p15:clr>
        </p15:guide>
        <p15:guide id="22" pos="5640" userDrawn="1">
          <p15:clr>
            <a:srgbClr val="A4A3A4"/>
          </p15:clr>
        </p15:guide>
        <p15:guide id="23" pos="5829" userDrawn="1">
          <p15:clr>
            <a:srgbClr val="A4A3A4"/>
          </p15:clr>
        </p15:guide>
        <p15:guide id="24" pos="6246" userDrawn="1">
          <p15:clr>
            <a:srgbClr val="A4A3A4"/>
          </p15:clr>
        </p15:guide>
        <p15:guide id="25" pos="6434" userDrawn="1">
          <p15:clr>
            <a:srgbClr val="A4A3A4"/>
          </p15:clr>
        </p15:guide>
        <p15:guide id="26" pos="6852" userDrawn="1">
          <p15:clr>
            <a:srgbClr val="A4A3A4"/>
          </p15:clr>
        </p15:guide>
        <p15:guide id="27" pos="7038" userDrawn="1">
          <p15:clr>
            <a:srgbClr val="A4A3A4"/>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59" y="2932236"/>
            <a:ext cx="4243948" cy="1130053"/>
          </a:xfrm>
        </p:spPr>
        <p:txBody>
          <a:bodyPr wrap="square" anchor="ctr">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14360543"/>
      </p:ext>
    </p:extLst>
  </p:cSld>
  <p:clrMapOvr>
    <a:masterClrMapping/>
  </p:clrMapOvr>
  <p:transition>
    <p:fade/>
  </p:transition>
  <p:extLst>
    <p:ext uri="{DCECCB84-F9BA-43D5-87BE-67443E8EF086}">
      <p15:sldGuideLst xmlns:p15="http://schemas.microsoft.com/office/powerpoint/2012/main">
        <p15:guide id="6" pos="795" userDrawn="1">
          <p15:clr>
            <a:srgbClr val="A4A3A4"/>
          </p15:clr>
        </p15:guide>
        <p15:guide id="7" pos="981" userDrawn="1">
          <p15:clr>
            <a:srgbClr val="A4A3A4"/>
          </p15:clr>
        </p15:guide>
        <p15:guide id="8" pos="1401" userDrawn="1">
          <p15:clr>
            <a:srgbClr val="A4A3A4"/>
          </p15:clr>
        </p15:guide>
        <p15:guide id="9" pos="1587" userDrawn="1">
          <p15:clr>
            <a:srgbClr val="A4A3A4"/>
          </p15:clr>
        </p15:guide>
        <p15:guide id="10" pos="2006" userDrawn="1">
          <p15:clr>
            <a:srgbClr val="A4A3A4"/>
          </p15:clr>
        </p15:guide>
        <p15:guide id="11" pos="2193" userDrawn="1">
          <p15:clr>
            <a:srgbClr val="A4A3A4"/>
          </p15:clr>
        </p15:guide>
        <p15:guide id="12" pos="2612" userDrawn="1">
          <p15:clr>
            <a:srgbClr val="A4A3A4"/>
          </p15:clr>
        </p15:guide>
        <p15:guide id="13" pos="2799" userDrawn="1">
          <p15:clr>
            <a:srgbClr val="A4A3A4"/>
          </p15:clr>
        </p15:guide>
        <p15:guide id="14" pos="3218" userDrawn="1">
          <p15:clr>
            <a:srgbClr val="A4A3A4"/>
          </p15:clr>
        </p15:guide>
        <p15:guide id="15" pos="3405" userDrawn="1">
          <p15:clr>
            <a:srgbClr val="5ACBF0"/>
          </p15:clr>
        </p15:guide>
        <p15:guide id="16" pos="3824" userDrawn="1">
          <p15:clr>
            <a:srgbClr val="A4A3A4"/>
          </p15:clr>
        </p15:guide>
        <p15:guide id="17" pos="4011" userDrawn="1">
          <p15:clr>
            <a:srgbClr val="A4A3A4"/>
          </p15:clr>
        </p15:guide>
        <p15:guide id="18" pos="4430" userDrawn="1">
          <p15:clr>
            <a:srgbClr val="A4A3A4"/>
          </p15:clr>
        </p15:guide>
        <p15:guide id="19" pos="4617" userDrawn="1">
          <p15:clr>
            <a:srgbClr val="A4A3A4"/>
          </p15:clr>
        </p15:guide>
        <p15:guide id="20" pos="5036" userDrawn="1">
          <p15:clr>
            <a:srgbClr val="A4A3A4"/>
          </p15:clr>
        </p15:guide>
        <p15:guide id="21" pos="5223" userDrawn="1">
          <p15:clr>
            <a:srgbClr val="A4A3A4"/>
          </p15:clr>
        </p15:guide>
        <p15:guide id="22" pos="5640" userDrawn="1">
          <p15:clr>
            <a:srgbClr val="A4A3A4"/>
          </p15:clr>
        </p15:guide>
        <p15:guide id="23" pos="5829" userDrawn="1">
          <p15:clr>
            <a:srgbClr val="A4A3A4"/>
          </p15:clr>
        </p15:guide>
        <p15:guide id="24" pos="6246" userDrawn="1">
          <p15:clr>
            <a:srgbClr val="A4A3A4"/>
          </p15:clr>
        </p15:guide>
        <p15:guide id="25" pos="6434" userDrawn="1">
          <p15:clr>
            <a:srgbClr val="A4A3A4"/>
          </p15:clr>
        </p15:guide>
        <p15:guide id="26" pos="6852" userDrawn="1">
          <p15:clr>
            <a:srgbClr val="A4A3A4"/>
          </p15:clr>
        </p15:guide>
        <p15:guide id="27" pos="7038" userDrawn="1">
          <p15:clr>
            <a:srgbClr val="A4A3A4"/>
          </p15:clr>
        </p15:guide>
        <p15:guide id="30" orient="horz" pos="294" userDrawn="1">
          <p15:clr>
            <a:srgbClr val="5ACBF0"/>
          </p15:clr>
        </p15:guide>
        <p15:guide id="31" pos="3403" userDrawn="1">
          <p15:clr>
            <a:srgbClr val="FBAE40"/>
          </p15:clr>
        </p15:guide>
        <p15:guide id="32" orient="horz" pos="2203" userDrawn="1">
          <p15:clr>
            <a:srgbClr val="5ACBF0"/>
          </p15:clr>
        </p15:guide>
        <p15:guide id="33" pos="3054"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00" spc="0">
                <a:solidFill>
                  <a:schemeClr val="bg1"/>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3221895"/>
      </p:ext>
    </p:extLst>
  </p:cSld>
  <p:clrMapOvr>
    <a:masterClrMapping/>
  </p:clrMapOvr>
  <p:transition>
    <p:fade/>
  </p:transition>
  <p:extLst>
    <p:ext uri="{DCECCB84-F9BA-43D5-87BE-67443E8EF086}">
      <p15:sldGuideLst xmlns:p15="http://schemas.microsoft.com/office/powerpoint/2012/main">
        <p15:guide id="6" pos="795" userDrawn="1">
          <p15:clr>
            <a:srgbClr val="A4A3A4"/>
          </p15:clr>
        </p15:guide>
        <p15:guide id="7" pos="981" userDrawn="1">
          <p15:clr>
            <a:srgbClr val="A4A3A4"/>
          </p15:clr>
        </p15:guide>
        <p15:guide id="8" pos="1401" userDrawn="1">
          <p15:clr>
            <a:srgbClr val="A4A3A4"/>
          </p15:clr>
        </p15:guide>
        <p15:guide id="9" pos="1587" userDrawn="1">
          <p15:clr>
            <a:srgbClr val="A4A3A4"/>
          </p15:clr>
        </p15:guide>
        <p15:guide id="10" pos="2006" userDrawn="1">
          <p15:clr>
            <a:srgbClr val="A4A3A4"/>
          </p15:clr>
        </p15:guide>
        <p15:guide id="11" pos="2193" userDrawn="1">
          <p15:clr>
            <a:srgbClr val="A4A3A4"/>
          </p15:clr>
        </p15:guide>
        <p15:guide id="12" pos="2612" userDrawn="1">
          <p15:clr>
            <a:srgbClr val="A4A3A4"/>
          </p15:clr>
        </p15:guide>
        <p15:guide id="13" pos="2799" userDrawn="1">
          <p15:clr>
            <a:srgbClr val="A4A3A4"/>
          </p15:clr>
        </p15:guide>
        <p15:guide id="14" pos="3218" userDrawn="1">
          <p15:clr>
            <a:srgbClr val="A4A3A4"/>
          </p15:clr>
        </p15:guide>
        <p15:guide id="15" pos="3405" userDrawn="1">
          <p15:clr>
            <a:srgbClr val="A4A3A4"/>
          </p15:clr>
        </p15:guide>
        <p15:guide id="16" pos="3824" userDrawn="1">
          <p15:clr>
            <a:srgbClr val="A4A3A4"/>
          </p15:clr>
        </p15:guide>
        <p15:guide id="17" pos="4011" userDrawn="1">
          <p15:clr>
            <a:srgbClr val="A4A3A4"/>
          </p15:clr>
        </p15:guide>
        <p15:guide id="18" pos="4430" userDrawn="1">
          <p15:clr>
            <a:srgbClr val="A4A3A4"/>
          </p15:clr>
        </p15:guide>
        <p15:guide id="19" pos="4617" userDrawn="1">
          <p15:clr>
            <a:srgbClr val="A4A3A4"/>
          </p15:clr>
        </p15:guide>
        <p15:guide id="20" pos="5036" userDrawn="1">
          <p15:clr>
            <a:srgbClr val="A4A3A4"/>
          </p15:clr>
        </p15:guide>
        <p15:guide id="21" pos="5223" userDrawn="1">
          <p15:clr>
            <a:srgbClr val="A4A3A4"/>
          </p15:clr>
        </p15:guide>
        <p15:guide id="22" pos="5640" userDrawn="1">
          <p15:clr>
            <a:srgbClr val="A4A3A4"/>
          </p15:clr>
        </p15:guide>
        <p15:guide id="23" pos="5829" userDrawn="1">
          <p15:clr>
            <a:srgbClr val="A4A3A4"/>
          </p15:clr>
        </p15:guide>
        <p15:guide id="24" pos="6246" userDrawn="1">
          <p15:clr>
            <a:srgbClr val="A4A3A4"/>
          </p15:clr>
        </p15:guide>
        <p15:guide id="25" pos="6434" userDrawn="1">
          <p15:clr>
            <a:srgbClr val="A4A3A4"/>
          </p15:clr>
        </p15:guide>
        <p15:guide id="26" pos="6852" userDrawn="1">
          <p15:clr>
            <a:srgbClr val="A4A3A4"/>
          </p15:clr>
        </p15:guide>
        <p15:guide id="27" pos="7038" userDrawn="1">
          <p15:clr>
            <a:srgbClr val="A4A3A4"/>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27"/>
          </a:xfrm>
        </p:spPr>
        <p:txBody>
          <a:bodyPr/>
          <a:lstStyle>
            <a:lvl1pPr>
              <a:defRPr>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6"/>
            <a:ext cx="5475158" cy="282513"/>
          </a:xfrm>
        </p:spPr>
        <p:txBody>
          <a:bodyPr/>
          <a:lstStyle>
            <a:lvl1pPr marL="0" indent="0" algn="l">
              <a:spcBef>
                <a:spcPts val="0"/>
              </a:spcBef>
              <a:buNone/>
              <a:defRPr sz="1800">
                <a:solidFill>
                  <a:schemeClr val="bg1"/>
                </a:solidFill>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chemeClr val="bg1"/>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6"/>
            <a:ext cx="5475158" cy="282513"/>
          </a:xfrm>
        </p:spPr>
        <p:txBody>
          <a:bodyPr/>
          <a:lstStyle>
            <a:lvl1pPr marL="0" indent="0" algn="l">
              <a:spcBef>
                <a:spcPts val="0"/>
              </a:spcBef>
              <a:buNone/>
              <a:defRPr sz="1800">
                <a:solidFill>
                  <a:schemeClr val="bg1"/>
                </a:solidFill>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chemeClr val="bg1"/>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603479" y="-208004"/>
            <a:ext cx="588653" cy="156952"/>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3700226507"/>
      </p:ext>
    </p:extLst>
  </p:cSld>
  <p:clrMapOvr>
    <a:masterClrMapping/>
  </p:clrMapOvr>
  <p:transition>
    <p:fade/>
  </p:transition>
  <p:extLst>
    <p:ext uri="{DCECCB84-F9BA-43D5-87BE-67443E8EF086}">
      <p15:sldGuideLst xmlns:p15="http://schemas.microsoft.com/office/powerpoint/2012/main">
        <p15:guide id="3" orient="horz" pos="3655" userDrawn="1">
          <p15:clr>
            <a:srgbClr val="5ACBF0"/>
          </p15:clr>
        </p15:guide>
        <p15:guide id="4" orient="horz" pos="1301" userDrawn="1">
          <p15:clr>
            <a:srgbClr val="5ACBF0"/>
          </p15:clr>
        </p15:guide>
        <p15:guide id="5" orient="horz" pos="294" userDrawn="1">
          <p15:clr>
            <a:srgbClr val="5ACBF0"/>
          </p15:clr>
        </p15:guide>
        <p15:guide id="6" pos="3824" userDrawn="1">
          <p15:clr>
            <a:srgbClr val="5ACBF0"/>
          </p15:clr>
        </p15:guide>
        <p15:guide id="7" pos="401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6304543"/>
      </p:ext>
    </p:extLst>
  </p:cSld>
  <p:clrMapOvr>
    <a:masterClrMapping/>
  </p:clrMapOvr>
  <p:transition>
    <p:fade/>
  </p:transition>
  <p:extLst>
    <p:ext uri="{DCECCB84-F9BA-43D5-87BE-67443E8EF086}">
      <p15:sldGuideLst xmlns:p15="http://schemas.microsoft.com/office/powerpoint/2012/main">
        <p15:guide id="6" pos="795" userDrawn="1">
          <p15:clr>
            <a:srgbClr val="A4A3A4"/>
          </p15:clr>
        </p15:guide>
        <p15:guide id="7" pos="981" userDrawn="1">
          <p15:clr>
            <a:srgbClr val="A4A3A4"/>
          </p15:clr>
        </p15:guide>
        <p15:guide id="8" pos="1401" userDrawn="1">
          <p15:clr>
            <a:srgbClr val="A4A3A4"/>
          </p15:clr>
        </p15:guide>
        <p15:guide id="9" pos="1587" userDrawn="1">
          <p15:clr>
            <a:srgbClr val="A4A3A4"/>
          </p15:clr>
        </p15:guide>
        <p15:guide id="10" pos="2006" userDrawn="1">
          <p15:clr>
            <a:srgbClr val="A4A3A4"/>
          </p15:clr>
        </p15:guide>
        <p15:guide id="11" pos="2193" userDrawn="1">
          <p15:clr>
            <a:srgbClr val="A4A3A4"/>
          </p15:clr>
        </p15:guide>
        <p15:guide id="12" pos="2612" userDrawn="1">
          <p15:clr>
            <a:srgbClr val="A4A3A4"/>
          </p15:clr>
        </p15:guide>
        <p15:guide id="13" pos="2799" userDrawn="1">
          <p15:clr>
            <a:srgbClr val="A4A3A4"/>
          </p15:clr>
        </p15:guide>
        <p15:guide id="14" pos="3218" userDrawn="1">
          <p15:clr>
            <a:srgbClr val="A4A3A4"/>
          </p15:clr>
        </p15:guide>
        <p15:guide id="15" pos="3405" userDrawn="1">
          <p15:clr>
            <a:srgbClr val="A4A3A4"/>
          </p15:clr>
        </p15:guide>
        <p15:guide id="16" pos="3824" userDrawn="1">
          <p15:clr>
            <a:srgbClr val="A4A3A4"/>
          </p15:clr>
        </p15:guide>
        <p15:guide id="17" pos="4011" userDrawn="1">
          <p15:clr>
            <a:srgbClr val="A4A3A4"/>
          </p15:clr>
        </p15:guide>
        <p15:guide id="18" pos="4430" userDrawn="1">
          <p15:clr>
            <a:srgbClr val="A4A3A4"/>
          </p15:clr>
        </p15:guide>
        <p15:guide id="19" pos="4617" userDrawn="1">
          <p15:clr>
            <a:srgbClr val="A4A3A4"/>
          </p15:clr>
        </p15:guide>
        <p15:guide id="20" pos="5036" userDrawn="1">
          <p15:clr>
            <a:srgbClr val="A4A3A4"/>
          </p15:clr>
        </p15:guide>
        <p15:guide id="21" pos="5223" userDrawn="1">
          <p15:clr>
            <a:srgbClr val="A4A3A4"/>
          </p15:clr>
        </p15:guide>
        <p15:guide id="22" pos="5640" userDrawn="1">
          <p15:clr>
            <a:srgbClr val="A4A3A4"/>
          </p15:clr>
        </p15:guide>
        <p15:guide id="23" pos="5829" userDrawn="1">
          <p15:clr>
            <a:srgbClr val="A4A3A4"/>
          </p15:clr>
        </p15:guide>
        <p15:guide id="24" pos="6246" userDrawn="1">
          <p15:clr>
            <a:srgbClr val="A4A3A4"/>
          </p15:clr>
        </p15:guide>
        <p15:guide id="25" pos="6434" userDrawn="1">
          <p15:clr>
            <a:srgbClr val="A4A3A4"/>
          </p15:clr>
        </p15:guide>
        <p15:guide id="26" pos="6852" userDrawn="1">
          <p15:clr>
            <a:srgbClr val="A4A3A4"/>
          </p15:clr>
        </p15:guide>
        <p15:guide id="27" pos="7038" userDrawn="1">
          <p15:clr>
            <a:srgbClr val="A4A3A4"/>
          </p15:clr>
        </p15:guide>
        <p15:guide id="28" orient="horz" pos="923" userDrawn="1">
          <p15:clr>
            <a:srgbClr val="5ACBF0"/>
          </p15:clr>
        </p15:guide>
        <p15:guide id="29" orient="horz" pos="1296" userDrawn="1">
          <p15:clr>
            <a:srgbClr val="5ACBF0"/>
          </p15:clr>
        </p15:guide>
        <p15:guide id="30" orient="horz" pos="294"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700">
                <a:solidFill>
                  <a:schemeClr val="tx1"/>
                </a:solidFill>
                <a:latin typeface="+mn-lt"/>
              </a:defRPr>
            </a:lvl1pPr>
            <a:lvl2pPr>
              <a:defRPr sz="29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800"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869086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22" userDrawn="1">
          <p15:clr>
            <a:srgbClr val="5ACBF0"/>
          </p15:clr>
        </p15:guide>
        <p15:guide id="2" orient="horz" pos="294"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solidFill>
                  <a:schemeClr val="bg1"/>
                </a:solidFill>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00">
                <a:solidFill>
                  <a:schemeClr val="bg1"/>
                </a:solidFill>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2134545"/>
          </a:xfrm>
          <a:solidFill>
            <a:srgbClr val="414241"/>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96108571"/>
      </p:ext>
    </p:extLst>
  </p:cSld>
  <p:clrMapOvr>
    <a:masterClrMapping/>
  </p:clrMapOvr>
  <p:extLst>
    <p:ext uri="{DCECCB84-F9BA-43D5-87BE-67443E8EF086}">
      <p15:sldGuideLst xmlns:p15="http://schemas.microsoft.com/office/powerpoint/2012/main">
        <p15:guide id="17" orient="horz" pos="2003" userDrawn="1">
          <p15:clr>
            <a:srgbClr val="547EBF"/>
          </p15:clr>
        </p15:guide>
        <p15:guide id="18" orient="horz" pos="2303" userDrawn="1">
          <p15:clr>
            <a:srgbClr val="547EBF"/>
          </p15:clr>
        </p15:guide>
        <p15:guide id="19" pos="3417" userDrawn="1">
          <p15:clr>
            <a:srgbClr val="547EBF"/>
          </p15:clr>
        </p15:guide>
        <p15:guide id="20" pos="3218" userDrawn="1">
          <p15:clr>
            <a:srgbClr val="547EBF"/>
          </p15:clr>
        </p15:guide>
        <p15:guide id="21" pos="421" userDrawn="1">
          <p15:clr>
            <a:srgbClr val="547EBF"/>
          </p15:clr>
        </p15:guide>
        <p15:guide id="22" orient="horz" pos="405" userDrawn="1">
          <p15:clr>
            <a:srgbClr val="547EBF"/>
          </p15:clr>
        </p15:guide>
        <p15:guide id="23" orient="horz" pos="4001"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Section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650CB20-BE7D-4BCB-95E7-3B91FCCE3CDD}"/>
              </a:ext>
            </a:extLst>
          </p:cNvPr>
          <p:cNvPicPr>
            <a:picLocks noChangeAspect="1"/>
          </p:cNvPicPr>
          <p:nvPr userDrawn="1"/>
        </p:nvPicPr>
        <p:blipFill>
          <a:blip r:embed="rId2"/>
          <a:stretch>
            <a:fillRect/>
          </a:stretch>
        </p:blipFill>
        <p:spPr>
          <a:xfrm>
            <a:off x="0" y="0"/>
            <a:ext cx="12436475" cy="6994525"/>
          </a:xfrm>
          <a:prstGeom prst="rect">
            <a:avLst/>
          </a:prstGeom>
        </p:spPr>
      </p:pic>
      <p:sp>
        <p:nvSpPr>
          <p:cNvPr id="8" name="Rectangle 7">
            <a:extLst>
              <a:ext uri="{FF2B5EF4-FFF2-40B4-BE49-F238E27FC236}">
                <a16:creationId xmlns:a16="http://schemas.microsoft.com/office/drawing/2014/main" id="{C7D47421-6125-4D93-86CF-71AF2DD0BF58}"/>
              </a:ext>
            </a:extLst>
          </p:cNvPr>
          <p:cNvSpPr/>
          <p:nvPr userDrawn="1"/>
        </p:nvSpPr>
        <p:spPr bwMode="auto">
          <a:xfrm>
            <a:off x="0" y="0"/>
            <a:ext cx="12436475" cy="6994525"/>
          </a:xfrm>
          <a:prstGeom prst="rect">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Oval 8">
            <a:extLst>
              <a:ext uri="{FF2B5EF4-FFF2-40B4-BE49-F238E27FC236}">
                <a16:creationId xmlns:a16="http://schemas.microsoft.com/office/drawing/2014/main" id="{09AFFA63-5DC3-46AA-B3FA-1D4FE7E667F8}"/>
              </a:ext>
            </a:extLst>
          </p:cNvPr>
          <p:cNvSpPr/>
          <p:nvPr userDrawn="1"/>
        </p:nvSpPr>
        <p:spPr>
          <a:xfrm>
            <a:off x="1220096" y="-739443"/>
            <a:ext cx="9108717" cy="9034439"/>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Text" lastClr="000000"/>
              </a:solidFill>
              <a:effectLst/>
              <a:uLnTx/>
              <a:uFillTx/>
            </a:endParaRPr>
          </a:p>
        </p:txBody>
      </p:sp>
      <p:pic>
        <p:nvPicPr>
          <p:cNvPr id="12" name="Picture 11" descr="A close up of a sign&#10;&#10;Description generated with high confidence">
            <a:extLst>
              <a:ext uri="{FF2B5EF4-FFF2-40B4-BE49-F238E27FC236}">
                <a16:creationId xmlns:a16="http://schemas.microsoft.com/office/drawing/2014/main" id="{436B7EC6-1748-4870-8345-2C8BCF5900F4}"/>
              </a:ext>
            </a:extLst>
          </p:cNvPr>
          <p:cNvPicPr>
            <a:picLocks noChangeAspect="1"/>
          </p:cNvPicPr>
          <p:nvPr userDrawn="1"/>
        </p:nvPicPr>
        <p:blipFill>
          <a:blip r:embed="rId3"/>
          <a:stretch>
            <a:fillRect/>
          </a:stretch>
        </p:blipFill>
        <p:spPr>
          <a:xfrm>
            <a:off x="6277943" y="3925865"/>
            <a:ext cx="1926322" cy="1926077"/>
          </a:xfrm>
          <a:prstGeom prst="rect">
            <a:avLst/>
          </a:prstGeom>
        </p:spPr>
      </p:pic>
      <p:sp>
        <p:nvSpPr>
          <p:cNvPr id="10" name="Oval 9">
            <a:extLst>
              <a:ext uri="{FF2B5EF4-FFF2-40B4-BE49-F238E27FC236}">
                <a16:creationId xmlns:a16="http://schemas.microsoft.com/office/drawing/2014/main" id="{1686693A-B811-41D7-92C1-B530DB5AFD9A}"/>
              </a:ext>
            </a:extLst>
          </p:cNvPr>
          <p:cNvSpPr/>
          <p:nvPr userDrawn="1"/>
        </p:nvSpPr>
        <p:spPr>
          <a:xfrm>
            <a:off x="5960280" y="3497262"/>
            <a:ext cx="2806167" cy="2783284"/>
          </a:xfrm>
          <a:prstGeom prst="ellipse">
            <a:avLst/>
          </a:prstGeom>
          <a:noFill/>
          <a:ln w="19050" cmpd="thinThick">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Text" lastClr="000000"/>
              </a:solidFill>
              <a:effectLst/>
              <a:uLnTx/>
              <a:uFillTx/>
            </a:endParaRPr>
          </a:p>
        </p:txBody>
      </p:sp>
      <p:sp>
        <p:nvSpPr>
          <p:cNvPr id="5" name="Text Placeholder 4"/>
          <p:cNvSpPr>
            <a:spLocks noGrp="1"/>
          </p:cNvSpPr>
          <p:nvPr>
            <p:ph type="body" sz="quarter" idx="13"/>
          </p:nvPr>
        </p:nvSpPr>
        <p:spPr>
          <a:xfrm>
            <a:off x="2" y="3111161"/>
            <a:ext cx="12436474" cy="738589"/>
          </a:xfrm>
          <a:solidFill>
            <a:schemeClr val="bg1">
              <a:alpha val="85000"/>
            </a:schemeClr>
          </a:solidFill>
          <a:ln>
            <a:solidFill>
              <a:schemeClr val="tx1">
                <a:lumMod val="65000"/>
              </a:schemeClr>
            </a:solidFill>
          </a:ln>
        </p:spPr>
        <p:txBody>
          <a:bodyPr/>
          <a:lstStyle>
            <a:lvl1pPr marL="0" indent="0" algn="l">
              <a:buNone/>
              <a:defRPr lang="en-US" sz="4800" b="0" i="0" kern="1200" spc="0" dirty="0" smtClean="0">
                <a:gradFill>
                  <a:gsLst>
                    <a:gs pos="0">
                      <a:schemeClr val="accent1">
                        <a:lumMod val="5000"/>
                        <a:lumOff val="95000"/>
                      </a:schemeClr>
                    </a:gs>
                    <a:gs pos="100000">
                      <a:srgbClr val="FFFFFF"/>
                    </a:gs>
                  </a:gsLst>
                  <a:lin ang="5400000" scaled="1"/>
                </a:gradFill>
                <a:effectLst>
                  <a:outerShdw blurRad="38100" dist="38100" dir="2700000" algn="tl">
                    <a:srgbClr val="000000">
                      <a:alpha val="43137"/>
                    </a:srgbClr>
                  </a:outerShdw>
                </a:effectLst>
                <a:latin typeface="+mj-lt"/>
                <a:ea typeface="+mn-ea"/>
                <a:cs typeface="Segoe UI Semilight" panose="020B0402040204020203" pitchFamily="34" charset="0"/>
              </a:defRPr>
            </a:lvl1pPr>
            <a:lvl2pPr algn="l">
              <a:defRPr/>
            </a:lvl2pPr>
            <a:lvl3pPr algn="l">
              <a:defRPr/>
            </a:lvl3pPr>
            <a:lvl4pPr algn="l">
              <a:defRPr/>
            </a:lvl4pPr>
            <a:lvl5pPr algn="l">
              <a:defRPr/>
            </a:lvl5pPr>
          </a:lstStyle>
          <a:p>
            <a:pPr lvl="0"/>
            <a:endParaRPr lang="en-US"/>
          </a:p>
        </p:txBody>
      </p:sp>
      <p:sp>
        <p:nvSpPr>
          <p:cNvPr id="14" name="Rectangle 13">
            <a:extLst>
              <a:ext uri="{FF2B5EF4-FFF2-40B4-BE49-F238E27FC236}">
                <a16:creationId xmlns:a16="http://schemas.microsoft.com/office/drawing/2014/main" id="{C91EA2D9-BA1A-47C0-BF44-846AE91BA03D}"/>
              </a:ext>
            </a:extLst>
          </p:cNvPr>
          <p:cNvSpPr/>
          <p:nvPr userDrawn="1"/>
        </p:nvSpPr>
        <p:spPr>
          <a:xfrm flipH="1">
            <a:off x="8133745" y="4678316"/>
            <a:ext cx="4082805" cy="675522"/>
          </a:xfrm>
          <a:prstGeom prst="rect">
            <a:avLst/>
          </a:prstGeom>
          <a:noFill/>
          <a:ln w="12700" cap="flat" cmpd="sng" algn="ctr">
            <a:noFill/>
            <a:prstDash val="solid"/>
            <a:miter lim="800000"/>
          </a:ln>
          <a:effectLst/>
        </p:spPr>
        <p:txBody>
          <a:bodyPr rtlCol="0" anchor="ctr"/>
          <a:lstStyle/>
          <a:p>
            <a:pPr marL="0" marR="0" lvl="0" indent="0" defTabSz="932597" eaLnBrk="1" fontAlgn="auto" latinLnBrk="0" hangingPunct="1">
              <a:lnSpc>
                <a:spcPct val="90000"/>
              </a:lnSpc>
              <a:spcBef>
                <a:spcPts val="0"/>
              </a:spcBef>
              <a:spcAft>
                <a:spcPts val="0"/>
              </a:spcAft>
              <a:buClrTx/>
              <a:buSzTx/>
              <a:buFontTx/>
              <a:buNone/>
              <a:tabLst/>
              <a:defRPr/>
            </a:pPr>
            <a:r>
              <a:rPr kumimoji="0" lang="en-US" sz="3200" b="0" i="0" u="none" strike="noStrike" kern="0" cap="none" spc="0" normalizeH="0" baseline="0" noProof="0">
                <a:ln>
                  <a:noFill/>
                </a:ln>
                <a:solidFill>
                  <a:prstClr val="white">
                    <a:lumMod val="75000"/>
                  </a:prstClr>
                </a:solidFill>
                <a:effectLst>
                  <a:outerShdw blurRad="38100" dist="38100" dir="2700000" algn="tl">
                    <a:srgbClr val="000000">
                      <a:alpha val="43137"/>
                    </a:srgbClr>
                  </a:outerShdw>
                </a:effectLst>
                <a:uLnTx/>
                <a:uFillTx/>
                <a:latin typeface="Calibri Light"/>
                <a:ea typeface="+mn-ea"/>
                <a:cs typeface="+mn-cs"/>
              </a:rPr>
              <a:t>Building solutions with</a:t>
            </a:r>
            <a:br>
              <a:rPr kumimoji="0" lang="en-US" sz="3200" b="0" i="0" u="none" strike="noStrike" kern="0" cap="none" spc="0" normalizeH="0" baseline="0" noProof="0">
                <a:ln>
                  <a:noFill/>
                </a:ln>
                <a:solidFill>
                  <a:prstClr val="white">
                    <a:lumMod val="75000"/>
                  </a:prstClr>
                </a:solidFill>
                <a:effectLst>
                  <a:outerShdw blurRad="38100" dist="38100" dir="2700000" algn="tl">
                    <a:srgbClr val="000000">
                      <a:alpha val="43137"/>
                    </a:srgbClr>
                  </a:outerShdw>
                </a:effectLst>
                <a:uLnTx/>
                <a:uFillTx/>
                <a:latin typeface="Calibri Light"/>
                <a:ea typeface="+mn-ea"/>
                <a:cs typeface="+mn-cs"/>
              </a:rPr>
            </a:br>
            <a:r>
              <a:rPr kumimoji="0" lang="en-US" sz="3200" b="0" i="0" u="none" strike="noStrike" kern="0" cap="none" spc="0" normalizeH="0" baseline="0" noProof="0">
                <a:ln>
                  <a:noFill/>
                </a:ln>
                <a:solidFill>
                  <a:prstClr val="white">
                    <a:lumMod val="75000"/>
                  </a:prstClr>
                </a:solidFill>
                <a:effectLst>
                  <a:outerShdw blurRad="38100" dist="38100" dir="2700000" algn="tl">
                    <a:srgbClr val="000000">
                      <a:alpha val="43137"/>
                    </a:srgbClr>
                  </a:outerShdw>
                </a:effectLst>
                <a:uLnTx/>
                <a:uFillTx/>
                <a:latin typeface="Calibri Light"/>
                <a:ea typeface="+mn-ea"/>
                <a:cs typeface="+mn-cs"/>
              </a:rPr>
              <a:t>Dataverse for Teams</a:t>
            </a:r>
          </a:p>
        </p:txBody>
      </p:sp>
    </p:spTree>
    <p:extLst>
      <p:ext uri="{BB962C8B-B14F-4D97-AF65-F5344CB8AC3E}">
        <p14:creationId xmlns:p14="http://schemas.microsoft.com/office/powerpoint/2010/main" val="2037147164"/>
      </p:ext>
    </p:extLst>
  </p:cSld>
  <p:clrMapOvr>
    <a:overrideClrMapping bg1="dk1" tx1="lt1" bg2="dk2" tx2="lt2" accent1="accent1" accent2="accent2" accent3="accent3" accent4="accent4" accent5="accent5" accent6="accent6" hlink="hlink" folHlink="folHlink"/>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50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10" presetClass="exit" presetSubtype="0" fill="hold" grpId="1" nodeType="withEffect">
                                  <p:stCondLst>
                                    <p:cond delay="750"/>
                                  </p:stCondLst>
                                  <p:childTnLst>
                                    <p:animEffect transition="out" filter="fade">
                                      <p:cBhvr>
                                        <p:cTn id="11" dur="500"/>
                                        <p:tgtEl>
                                          <p:spTgt spid="9"/>
                                        </p:tgtEl>
                                      </p:cBhvr>
                                    </p:animEffect>
                                    <p:set>
                                      <p:cBhvr>
                                        <p:cTn id="12" dur="1" fill="hold">
                                          <p:stCondLst>
                                            <p:cond delay="499"/>
                                          </p:stCondLst>
                                        </p:cTn>
                                        <p:tgtEl>
                                          <p:spTgt spid="9"/>
                                        </p:tgtEl>
                                        <p:attrNameLst>
                                          <p:attrName>style.visibility</p:attrName>
                                        </p:attrNameLst>
                                      </p:cBhvr>
                                      <p:to>
                                        <p:strVal val="hidden"/>
                                      </p:to>
                                    </p:set>
                                  </p:childTnLst>
                                </p:cTn>
                              </p:par>
                              <p:par>
                                <p:cTn id="13" presetID="53" presetClass="entr" presetSubtype="16"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p:cTn id="15" dur="500" fill="hold"/>
                                        <p:tgtEl>
                                          <p:spTgt spid="10"/>
                                        </p:tgtEl>
                                        <p:attrNameLst>
                                          <p:attrName>ppt_w</p:attrName>
                                        </p:attrNameLst>
                                      </p:cBhvr>
                                      <p:tavLst>
                                        <p:tav tm="0">
                                          <p:val>
                                            <p:fltVal val="0"/>
                                          </p:val>
                                        </p:tav>
                                        <p:tav tm="100000">
                                          <p:val>
                                            <p:strVal val="#ppt_w"/>
                                          </p:val>
                                        </p:tav>
                                      </p:tavLst>
                                    </p:anim>
                                    <p:anim calcmode="lin" valueType="num">
                                      <p:cBhvr>
                                        <p:cTn id="16" dur="500" fill="hold"/>
                                        <p:tgtEl>
                                          <p:spTgt spid="10"/>
                                        </p:tgtEl>
                                        <p:attrNameLst>
                                          <p:attrName>ppt_h</p:attrName>
                                        </p:attrNameLst>
                                      </p:cBhvr>
                                      <p:tavLst>
                                        <p:tav tm="0">
                                          <p:val>
                                            <p:fltVal val="0"/>
                                          </p:val>
                                        </p:tav>
                                        <p:tav tm="100000">
                                          <p:val>
                                            <p:strVal val="#ppt_h"/>
                                          </p:val>
                                        </p:tav>
                                      </p:tavLst>
                                    </p:anim>
                                    <p:animEffect transition="in" filter="fade">
                                      <p:cBhvr>
                                        <p:cTn id="17" dur="500"/>
                                        <p:tgtEl>
                                          <p:spTgt spid="10"/>
                                        </p:tgtEl>
                                      </p:cBhvr>
                                    </p:animEffect>
                                  </p:childTnLst>
                                </p:cTn>
                              </p:par>
                              <p:par>
                                <p:cTn id="18" presetID="10" presetClass="exit" presetSubtype="0" fill="hold" grpId="1" nodeType="withEffect">
                                  <p:stCondLst>
                                    <p:cond delay="750"/>
                                  </p:stCondLst>
                                  <p:childTnLst>
                                    <p:animEffect transition="out" filter="fade">
                                      <p:cBhvr>
                                        <p:cTn id="19" dur="500"/>
                                        <p:tgtEl>
                                          <p:spTgt spid="10"/>
                                        </p:tgtEl>
                                      </p:cBhvr>
                                    </p:animEffect>
                                    <p:set>
                                      <p:cBhvr>
                                        <p:cTn id="20" dur="1" fill="hold">
                                          <p:stCondLst>
                                            <p:cond delay="499"/>
                                          </p:stCondLst>
                                        </p:cTn>
                                        <p:tgtEl>
                                          <p:spTgt spid="10"/>
                                        </p:tgtEl>
                                        <p:attrNameLst>
                                          <p:attrName>style.visibility</p:attrName>
                                        </p:attrNameLst>
                                      </p:cBhvr>
                                      <p:to>
                                        <p:strVal val="hidden"/>
                                      </p:to>
                                    </p:set>
                                  </p:childTnLst>
                                </p:cTn>
                              </p:par>
                            </p:childTnLst>
                          </p:cTn>
                        </p:par>
                        <p:par>
                          <p:cTn id="21" fill="hold">
                            <p:stCondLst>
                              <p:cond delay="1250"/>
                            </p:stCondLst>
                            <p:childTnLst>
                              <p:par>
                                <p:cTn id="22" presetID="2" presetClass="entr" presetSubtype="1" decel="100000" fill="hold" grpId="0" nodeType="after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additive="base">
                                        <p:cTn id="24" dur="650" fill="hold"/>
                                        <p:tgtEl>
                                          <p:spTgt spid="14"/>
                                        </p:tgtEl>
                                        <p:attrNameLst>
                                          <p:attrName>ppt_x</p:attrName>
                                        </p:attrNameLst>
                                      </p:cBhvr>
                                      <p:tavLst>
                                        <p:tav tm="0">
                                          <p:val>
                                            <p:strVal val="#ppt_x"/>
                                          </p:val>
                                        </p:tav>
                                        <p:tav tm="100000">
                                          <p:val>
                                            <p:strVal val="#ppt_x"/>
                                          </p:val>
                                        </p:tav>
                                      </p:tavLst>
                                    </p:anim>
                                    <p:anim calcmode="lin" valueType="num">
                                      <p:cBhvr additive="base">
                                        <p:cTn id="25" dur="65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0" grpId="0" animBg="1"/>
      <p:bldP spid="10" grpId="1" animBg="1"/>
      <p:bldP spid="14" grpId="0"/>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27"/>
          </a:xfrm>
        </p:spPr>
        <p:txBody>
          <a:bodyPr/>
          <a:lstStyle>
            <a:lvl1pPr>
              <a:defRPr>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7"/>
          </a:xfrm>
        </p:spPr>
        <p:txBody>
          <a:bodyPr/>
          <a:lstStyle>
            <a:lvl1pPr marL="0" indent="0" algn="l">
              <a:spcBef>
                <a:spcPts val="0"/>
              </a:spcBef>
              <a:buNone/>
              <a:defRPr sz="1800">
                <a:solidFill>
                  <a:schemeClr val="bg1"/>
                </a:solidFill>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7"/>
          </a:xfrm>
        </p:spPr>
        <p:txBody>
          <a:bodyPr/>
          <a:lstStyle>
            <a:lvl1pPr marL="0" indent="0" algn="l">
              <a:spcBef>
                <a:spcPts val="0"/>
              </a:spcBef>
              <a:buNone/>
              <a:defRPr sz="1800">
                <a:solidFill>
                  <a:schemeClr val="bg1"/>
                </a:solidFill>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7"/>
          </a:xfrm>
        </p:spPr>
        <p:txBody>
          <a:bodyPr/>
          <a:lstStyle>
            <a:lvl1pPr marL="0" indent="0" algn="l">
              <a:spcBef>
                <a:spcPts val="0"/>
              </a:spcBef>
              <a:buNone/>
              <a:defRPr sz="1800">
                <a:solidFill>
                  <a:schemeClr val="bg1"/>
                </a:solidFill>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7"/>
          </a:xfrm>
        </p:spPr>
        <p:txBody>
          <a:bodyPr/>
          <a:lstStyle>
            <a:lvl1pPr marL="0" indent="0" algn="l">
              <a:spcBef>
                <a:spcPts val="0"/>
              </a:spcBef>
              <a:buNone/>
              <a:defRPr sz="1800">
                <a:solidFill>
                  <a:schemeClr val="bg1"/>
                </a:solidFill>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603479" y="-208004"/>
            <a:ext cx="588653" cy="156952"/>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2048360039"/>
      </p:ext>
    </p:extLst>
  </p:cSld>
  <p:clrMapOvr>
    <a:masterClrMapping/>
  </p:clrMapOvr>
  <p:transition>
    <p:fade/>
  </p:transition>
  <p:extLst>
    <p:ext uri="{DCECCB84-F9BA-43D5-87BE-67443E8EF086}">
      <p15:sldGuideLst xmlns:p15="http://schemas.microsoft.com/office/powerpoint/2012/main">
        <p15:guide id="3" orient="horz" pos="3053" userDrawn="1">
          <p15:clr>
            <a:srgbClr val="5ACBF0"/>
          </p15:clr>
        </p15:guide>
        <p15:guide id="4" orient="horz" pos="1301" userDrawn="1">
          <p15:clr>
            <a:srgbClr val="5ACBF0"/>
          </p15:clr>
        </p15:guide>
        <p15:guide id="5" orient="horz" pos="294" userDrawn="1">
          <p15:clr>
            <a:srgbClr val="5ACBF0"/>
          </p15:clr>
        </p15:guide>
        <p15:guide id="6" pos="2002" userDrawn="1">
          <p15:clr>
            <a:srgbClr val="5ACBF0"/>
          </p15:clr>
        </p15:guide>
        <p15:guide id="7" pos="2193" userDrawn="1">
          <p15:clr>
            <a:srgbClr val="5ACBF0"/>
          </p15:clr>
        </p15:guide>
        <p15:guide id="8" pos="3821" userDrawn="1">
          <p15:clr>
            <a:srgbClr val="5ACBF0"/>
          </p15:clr>
        </p15:guide>
        <p15:guide id="9" pos="4013" userDrawn="1">
          <p15:clr>
            <a:srgbClr val="5ACBF0"/>
          </p15:clr>
        </p15:guide>
        <p15:guide id="10" pos="5641" userDrawn="1">
          <p15:clr>
            <a:srgbClr val="5ACBF0"/>
          </p15:clr>
        </p15:guide>
        <p15:guide id="11" pos="5831"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End (Data Viz)">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19900" y="2895979"/>
            <a:ext cx="4002972" cy="1630325"/>
          </a:xfrm>
          <a:prstGeom prst="rect">
            <a:avLst/>
          </a:prstGeom>
        </p:spPr>
      </p:pic>
      <p:sp>
        <p:nvSpPr>
          <p:cNvPr id="5" name="Rectangle 2">
            <a:extLst>
              <a:ext uri="{FF2B5EF4-FFF2-40B4-BE49-F238E27FC236}">
                <a16:creationId xmlns:a16="http://schemas.microsoft.com/office/drawing/2014/main" id="{0CD2D2BF-BCAB-4D60-84D5-268B210223FA}"/>
              </a:ext>
            </a:extLst>
          </p:cNvPr>
          <p:cNvSpPr>
            <a:spLocks noChangeArrowheads="1"/>
          </p:cNvSpPr>
          <p:nvPr userDrawn="1"/>
        </p:nvSpPr>
        <p:spPr bwMode="auto">
          <a:xfrm>
            <a:off x="386612" y="6333866"/>
            <a:ext cx="5850551" cy="251123"/>
          </a:xfrm>
          <a:prstGeom prst="rect">
            <a:avLst/>
          </a:prstGeom>
          <a:noFill/>
          <a:ln w="9525">
            <a:noFill/>
            <a:miter lim="800000"/>
            <a:headEnd/>
            <a:tailEnd/>
          </a:ln>
        </p:spPr>
        <p:txBody>
          <a:bodyPr wrap="square">
            <a:spAutoFit/>
          </a:bodyPr>
          <a:lstStyle/>
          <a:p>
            <a:pPr marL="0" lvl="1" defTabSz="932278">
              <a:defRPr/>
            </a:pPr>
            <a:r>
              <a:rPr lang="en-US" sz="1000" b="0" i="0">
                <a:solidFill>
                  <a:schemeClr val="bg1"/>
                </a:solidFill>
                <a:latin typeface="Segoe UI" charset="0"/>
                <a:ea typeface="Segoe UI" charset="0"/>
                <a:cs typeface="Segoe UI" charset="0"/>
              </a:rPr>
              <a:t>© Copyright Microsoft Corporation. All rights reserved.</a:t>
            </a:r>
          </a:p>
        </p:txBody>
      </p:sp>
      <p:pic>
        <p:nvPicPr>
          <p:cNvPr id="4" name="Picture 3"/>
          <p:cNvPicPr>
            <a:picLocks noChangeAspect="1"/>
          </p:cNvPicPr>
          <p:nvPr userDrawn="1"/>
        </p:nvPicPr>
        <p:blipFill>
          <a:blip r:embed="rId3">
            <a:lum bright="13000"/>
            <a:alphaModFix amt="8000"/>
          </a:blip>
          <a:stretch>
            <a:fillRect/>
          </a:stretch>
        </p:blipFill>
        <p:spPr>
          <a:xfrm rot="17100000">
            <a:off x="6058175" y="-191875"/>
            <a:ext cx="6134500" cy="6568723"/>
          </a:xfrm>
          <a:prstGeom prst="rect">
            <a:avLst/>
          </a:prstGeom>
        </p:spPr>
      </p:pic>
    </p:spTree>
    <p:extLst>
      <p:ext uri="{BB962C8B-B14F-4D97-AF65-F5344CB8AC3E}">
        <p14:creationId xmlns:p14="http://schemas.microsoft.com/office/powerpoint/2010/main" val="18215562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Hidden-Deck Data">
    <p:bg>
      <p:bgPr>
        <a:solidFill>
          <a:srgbClr val="434343"/>
        </a:solidFill>
        <a:effectLst/>
      </p:bgPr>
    </p:bg>
    <p:spTree>
      <p:nvGrpSpPr>
        <p:cNvPr id="1" name=""/>
        <p:cNvGrpSpPr/>
        <p:nvPr/>
      </p:nvGrpSpPr>
      <p:grpSpPr>
        <a:xfrm>
          <a:off x="0" y="0"/>
          <a:ext cx="0" cy="0"/>
          <a:chOff x="0" y="0"/>
          <a:chExt cx="0" cy="0"/>
        </a:xfrm>
      </p:grpSpPr>
      <p:sp>
        <p:nvSpPr>
          <p:cNvPr id="35" name="Rectangle 34"/>
          <p:cNvSpPr>
            <a:spLocks noChangeArrowheads="1"/>
          </p:cNvSpPr>
          <p:nvPr userDrawn="1"/>
        </p:nvSpPr>
        <p:spPr bwMode="white">
          <a:xfrm>
            <a:off x="278836" y="1313285"/>
            <a:ext cx="2742084" cy="5048196"/>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131856" tIns="65920" rIns="131856" bIns="65920" anchor="ctr"/>
          <a:lstStyle/>
          <a:p>
            <a:pPr marL="0" marR="0" lvl="0" indent="0" algn="ctr" defTabSz="131850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38" name="Rectangle 19"/>
          <p:cNvSpPr>
            <a:spLocks noChangeArrowheads="1"/>
          </p:cNvSpPr>
          <p:nvPr userDrawn="1"/>
        </p:nvSpPr>
        <p:spPr bwMode="white">
          <a:xfrm>
            <a:off x="271596" y="2300322"/>
            <a:ext cx="2741487"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Arial" pitchFamily="34" charset="0"/>
              </a:rPr>
              <a:t>Permission Requirements:</a:t>
            </a:r>
          </a:p>
        </p:txBody>
      </p:sp>
      <p:sp>
        <p:nvSpPr>
          <p:cNvPr id="40" name="Rectangle 19"/>
          <p:cNvSpPr>
            <a:spLocks noChangeArrowheads="1"/>
          </p:cNvSpPr>
          <p:nvPr userDrawn="1"/>
        </p:nvSpPr>
        <p:spPr bwMode="white">
          <a:xfrm>
            <a:off x="253667" y="3499921"/>
            <a:ext cx="2750208"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Arial" pitchFamily="34" charset="0"/>
              </a:rPr>
              <a:t>License Requirements:</a:t>
            </a:r>
          </a:p>
        </p:txBody>
      </p:sp>
      <p:sp>
        <p:nvSpPr>
          <p:cNvPr id="50" name="Line 3"/>
          <p:cNvSpPr>
            <a:spLocks noChangeShapeType="1"/>
          </p:cNvSpPr>
          <p:nvPr userDrawn="1"/>
        </p:nvSpPr>
        <p:spPr bwMode="white">
          <a:xfrm>
            <a:off x="314473" y="1743799"/>
            <a:ext cx="11828358"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pitchFamily="34" charset="0"/>
            </a:endParaRPr>
          </a:p>
        </p:txBody>
      </p:sp>
      <p:sp>
        <p:nvSpPr>
          <p:cNvPr id="53" name="Rectangle 20"/>
          <p:cNvSpPr>
            <a:spLocks noChangeArrowheads="1"/>
          </p:cNvSpPr>
          <p:nvPr userDrawn="1"/>
        </p:nvSpPr>
        <p:spPr bwMode="white">
          <a:xfrm>
            <a:off x="278838" y="1354201"/>
            <a:ext cx="2777395"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Arial" pitchFamily="34" charset="0"/>
              </a:rPr>
              <a:t>Module Title:</a:t>
            </a:r>
          </a:p>
        </p:txBody>
      </p:sp>
      <p:sp>
        <p:nvSpPr>
          <p:cNvPr id="54" name="Rectangle 23"/>
          <p:cNvSpPr>
            <a:spLocks noChangeArrowheads="1"/>
          </p:cNvSpPr>
          <p:nvPr userDrawn="1"/>
        </p:nvSpPr>
        <p:spPr bwMode="white">
          <a:xfrm>
            <a:off x="278836" y="1788905"/>
            <a:ext cx="2767254" cy="3734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349" tIns="54672" rIns="109349" bIns="54672" anchor="ctr">
            <a:spAutoFit/>
          </a:bodyPr>
          <a:lstStyle/>
          <a:p>
            <a:pPr marL="487584" marR="0" lvl="0" indent="-487584" algn="r" defTabSz="1318506" rtl="0" eaLnBrk="0" fontAlgn="base" latinLnBrk="0" hangingPunct="0">
              <a:lnSpc>
                <a:spcPct val="90000"/>
              </a:lnSpc>
              <a:spcBef>
                <a:spcPct val="30000"/>
              </a:spcBef>
              <a:spcAft>
                <a:spcPct val="0"/>
              </a:spcAft>
              <a:buClr>
                <a:srgbClr val="FFFF99"/>
              </a:buClr>
              <a:buSzPct val="75000"/>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Arial" pitchFamily="34" charset="0"/>
              </a:rPr>
              <a:t>Release Date:</a:t>
            </a:r>
          </a:p>
        </p:txBody>
      </p:sp>
      <p:sp>
        <p:nvSpPr>
          <p:cNvPr id="56" name="Line 3"/>
          <p:cNvSpPr>
            <a:spLocks noChangeShapeType="1"/>
          </p:cNvSpPr>
          <p:nvPr userDrawn="1"/>
        </p:nvSpPr>
        <p:spPr bwMode="white">
          <a:xfrm>
            <a:off x="314473" y="2192777"/>
            <a:ext cx="11828358"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pitchFamily="34" charset="0"/>
            </a:endParaRPr>
          </a:p>
        </p:txBody>
      </p:sp>
      <p:sp>
        <p:nvSpPr>
          <p:cNvPr id="57" name="Line 3"/>
          <p:cNvSpPr>
            <a:spLocks noChangeShapeType="1"/>
          </p:cNvSpPr>
          <p:nvPr userDrawn="1"/>
        </p:nvSpPr>
        <p:spPr bwMode="white">
          <a:xfrm>
            <a:off x="304059" y="3350380"/>
            <a:ext cx="11828358" cy="0"/>
          </a:xfrm>
          <a:prstGeom prst="line">
            <a:avLst/>
          </a:prstGeom>
          <a:noFill/>
          <a:ln w="12700">
            <a:solidFill>
              <a:srgbClr val="505050"/>
            </a:solidFill>
            <a:round/>
            <a:headEnd type="none" w="sm" len="sm"/>
            <a:tailEnd type="none" w="sm" len="sm"/>
          </a:ln>
        </p:spPr>
        <p:txBody>
          <a:bodyPr lIns="131857" tIns="65920" rIns="131857" bIns="65920"/>
          <a:lstStyle/>
          <a:p>
            <a:pPr marL="0" marR="0" lvl="0" indent="0" algn="l" defTabSz="131834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pitchFamily="34" charset="0"/>
            </a:endParaRPr>
          </a:p>
        </p:txBody>
      </p:sp>
      <p:sp>
        <p:nvSpPr>
          <p:cNvPr id="72" name="Text Placeholder 6"/>
          <p:cNvSpPr>
            <a:spLocks noGrp="1"/>
          </p:cNvSpPr>
          <p:nvPr>
            <p:ph type="body" sz="quarter" idx="11" hasCustomPrompt="1"/>
          </p:nvPr>
        </p:nvSpPr>
        <p:spPr>
          <a:xfrm>
            <a:off x="3153145" y="1343615"/>
            <a:ext cx="8989687" cy="349756"/>
          </a:xfrm>
          <a:prstGeom prst="rect">
            <a:avLst/>
          </a:prstGeo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Module title]</a:t>
            </a:r>
            <a:endParaRPr lang="en-US"/>
          </a:p>
        </p:txBody>
      </p:sp>
      <p:sp>
        <p:nvSpPr>
          <p:cNvPr id="73" name="Text Placeholder 6"/>
          <p:cNvSpPr>
            <a:spLocks noGrp="1"/>
          </p:cNvSpPr>
          <p:nvPr>
            <p:ph type="body" sz="quarter" idx="18" hasCustomPrompt="1"/>
          </p:nvPr>
        </p:nvSpPr>
        <p:spPr>
          <a:xfrm>
            <a:off x="3150641" y="1796367"/>
            <a:ext cx="8992193" cy="349756"/>
          </a:xfrm>
          <a:prstGeom prst="rect">
            <a:avLst/>
          </a:prstGeom>
        </p:spPr>
        <p:txBody>
          <a:bodyPr anchor="ctr">
            <a:noAutofit/>
          </a:bodyPr>
          <a:lstStyle>
            <a:lvl1pPr marL="0" indent="0">
              <a:buNone/>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 the week (mm/dd/</a:t>
            </a:r>
            <a:r>
              <a:rPr lang="en-GB" err="1"/>
              <a:t>yyyy</a:t>
            </a:r>
            <a:r>
              <a:rPr lang="en-GB"/>
              <a:t>) this version was released to </a:t>
            </a:r>
            <a:r>
              <a:rPr lang="en-GB" err="1"/>
              <a:t>lod</a:t>
            </a:r>
            <a:r>
              <a:rPr lang="en-GB"/>
              <a:t>]</a:t>
            </a:r>
            <a:endParaRPr lang="en-US"/>
          </a:p>
        </p:txBody>
      </p:sp>
      <p:sp>
        <p:nvSpPr>
          <p:cNvPr id="66" name="Text Placeholder 6"/>
          <p:cNvSpPr>
            <a:spLocks noGrp="1"/>
          </p:cNvSpPr>
          <p:nvPr>
            <p:ph type="body" sz="quarter" idx="26" hasCustomPrompt="1"/>
          </p:nvPr>
        </p:nvSpPr>
        <p:spPr>
          <a:xfrm>
            <a:off x="3149051" y="2277618"/>
            <a:ext cx="8992192" cy="1072761"/>
          </a:xfrm>
          <a:prstGeom prst="rect">
            <a:avLst/>
          </a:prstGeom>
        </p:spPr>
        <p:txBody>
          <a:bodyPr anchor="t">
            <a:noAutofit/>
          </a:bodyPr>
          <a:lstStyle>
            <a:lvl1pPr marL="0" marR="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GB"/>
              <a:t>[detail Permission requirements]</a:t>
            </a:r>
            <a:endParaRPr lang="en-US"/>
          </a:p>
        </p:txBody>
      </p:sp>
      <p:sp>
        <p:nvSpPr>
          <p:cNvPr id="67" name="Text Placeholder 6"/>
          <p:cNvSpPr>
            <a:spLocks noGrp="1"/>
          </p:cNvSpPr>
          <p:nvPr>
            <p:ph type="body" sz="quarter" idx="27" hasCustomPrompt="1"/>
          </p:nvPr>
        </p:nvSpPr>
        <p:spPr>
          <a:xfrm>
            <a:off x="3150382" y="3497263"/>
            <a:ext cx="8990862" cy="2864217"/>
          </a:xfrm>
          <a:prstGeom prst="rect">
            <a:avLst/>
          </a:prstGeom>
        </p:spPr>
        <p:txBody>
          <a:bodyPr anchor="t">
            <a:noAutofit/>
          </a:bodyPr>
          <a:lstStyle>
            <a:lvl1pPr marL="0" marR="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lang="en-US" sz="1800" b="0" kern="1200" cap="all" baseline="0" dirty="0">
                <a:solidFill>
                  <a:schemeClr val="bg1"/>
                </a:solidFill>
                <a:latin typeface="+mn-lt"/>
                <a:ea typeface="+mj-ea"/>
                <a:cs typeface="+mj-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32201" rtl="0" eaLnBrk="1" fontAlgn="auto" latinLnBrk="0" hangingPunct="1">
              <a:lnSpc>
                <a:spcPct val="100000"/>
              </a:lnSpc>
              <a:spcBef>
                <a:spcPts val="612"/>
              </a:spcBef>
              <a:spcAft>
                <a:spcPts val="0"/>
              </a:spcAft>
              <a:buClr>
                <a:schemeClr val="accent1"/>
              </a:buClr>
              <a:buSzPct val="100000"/>
              <a:buFont typeface="Wingdings" panose="05000000000000000000" pitchFamily="2" charset="2"/>
              <a:buNone/>
              <a:tabLst/>
              <a:defRPr/>
            </a:pPr>
            <a:r>
              <a:rPr lang="en-US" sz="1800">
                <a:solidFill>
                  <a:srgbClr val="FFFFFF"/>
                </a:solidFill>
                <a:cs typeface="Segoe UI" pitchFamily="34" charset="0"/>
              </a:rPr>
              <a:t>[detail License requirements]</a:t>
            </a:r>
            <a:endParaRPr lang="en-US"/>
          </a:p>
        </p:txBody>
      </p:sp>
      <p:sp>
        <p:nvSpPr>
          <p:cNvPr id="10" name="Text Placeholder 9"/>
          <p:cNvSpPr>
            <a:spLocks noGrp="1"/>
          </p:cNvSpPr>
          <p:nvPr>
            <p:ph type="body" sz="quarter" idx="30" hasCustomPrompt="1"/>
          </p:nvPr>
        </p:nvSpPr>
        <p:spPr>
          <a:xfrm>
            <a:off x="269323" y="352107"/>
            <a:ext cx="11873511" cy="580722"/>
          </a:xfrm>
          <a:prstGeom prst="rect">
            <a:avLst/>
          </a:prstGeom>
        </p:spPr>
        <p:txBody>
          <a:bodyPr/>
          <a:lstStyle>
            <a:lvl1pPr marL="0" indent="0">
              <a:buNone/>
              <a:defRPr lang="en-US" sz="3700" b="0" kern="1200" cap="none" spc="-102" baseline="0" dirty="0">
                <a:ln w="3175">
                  <a:noFill/>
                </a:ln>
                <a:solidFill>
                  <a:schemeClr val="bg1"/>
                </a:solidFill>
                <a:effectLst/>
                <a:latin typeface="Segoe UI Light" pitchFamily="34" charset="0"/>
                <a:ea typeface="Verdana" pitchFamily="34" charset="0"/>
                <a:cs typeface="Verdana" pitchFamily="34" charset="0"/>
              </a:defRPr>
            </a:lvl1pPr>
          </a:lstStyle>
          <a:p>
            <a:pPr marL="0" lvl="0" indent="0" algn="l" defTabSz="932201" rtl="0" eaLnBrk="1" latinLnBrk="0" hangingPunct="1">
              <a:lnSpc>
                <a:spcPct val="100000"/>
              </a:lnSpc>
              <a:spcBef>
                <a:spcPts val="612"/>
              </a:spcBef>
              <a:buClr>
                <a:schemeClr val="accent1"/>
              </a:buClr>
              <a:buSzPct val="100000"/>
              <a:buFont typeface="Wingdings" panose="05000000000000000000" pitchFamily="2" charset="2"/>
              <a:buNone/>
            </a:pPr>
            <a:r>
              <a:rPr lang="en-US"/>
              <a:t>[Component Name] – Deck Information</a:t>
            </a:r>
          </a:p>
        </p:txBody>
      </p:sp>
    </p:spTree>
    <p:extLst>
      <p:ext uri="{BB962C8B-B14F-4D97-AF65-F5344CB8AC3E}">
        <p14:creationId xmlns:p14="http://schemas.microsoft.com/office/powerpoint/2010/main" val="2574224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pyright">
    <p:bg>
      <p:bgPr>
        <a:solidFill>
          <a:srgbClr val="434343"/>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chemeClr val="bg1"/>
                </a:solidFill>
              </a:rPr>
              <a:t>Conditions and Terms of Use</a:t>
            </a:r>
          </a:p>
          <a:p>
            <a:r>
              <a:rPr lang="en-US" sz="1500" b="1">
                <a:solidFill>
                  <a:srgbClr val="00B0F0"/>
                </a:solidFill>
              </a:rPr>
              <a:t>Microsoft Confidential</a:t>
            </a:r>
          </a:p>
          <a:p>
            <a:r>
              <a:rPr lang="en-US" sz="1800">
                <a:solidFill>
                  <a:schemeClr val="bg1"/>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chemeClr val="bg1"/>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chemeClr val="bg1"/>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chemeClr val="bg1"/>
              </a:solidFill>
            </a:endParaRPr>
          </a:p>
          <a:p>
            <a:r>
              <a:rPr lang="en-US" sz="2300" b="1">
                <a:solidFill>
                  <a:schemeClr val="bg1"/>
                </a:solidFill>
              </a:rPr>
              <a:t>Copyright and Trademarks </a:t>
            </a:r>
          </a:p>
          <a:p>
            <a:r>
              <a:rPr lang="en-US" sz="1500" b="1">
                <a:solidFill>
                  <a:srgbClr val="00B0F0"/>
                </a:solidFill>
              </a:rPr>
              <a:t>© 2021 Microsoft Corporation. All rights reserved.</a:t>
            </a:r>
          </a:p>
          <a:p>
            <a:r>
              <a:rPr lang="en-US" sz="1800">
                <a:solidFill>
                  <a:schemeClr val="bg1"/>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chemeClr val="bg1"/>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chemeClr val="bg1"/>
                </a:solidFill>
              </a:rPr>
              <a:t>For more information, see </a:t>
            </a:r>
            <a:r>
              <a:rPr lang="en-US" sz="1800" b="1">
                <a:solidFill>
                  <a:schemeClr val="bg1"/>
                </a:solidFill>
              </a:rPr>
              <a:t>Use of Microsoft Copyrighted Content </a:t>
            </a:r>
            <a:r>
              <a:rPr lang="en-US" sz="1800">
                <a:solidFill>
                  <a:schemeClr val="bg1"/>
                </a:solidFill>
              </a:rPr>
              <a:t>at</a:t>
            </a:r>
            <a:br>
              <a:rPr lang="en-US" sz="1800">
                <a:solidFill>
                  <a:schemeClr val="bg1"/>
                </a:solidFill>
              </a:rPr>
            </a:br>
            <a:r>
              <a:rPr lang="en-US" sz="1800" b="1">
                <a:solidFill>
                  <a:srgbClr val="00B0F0"/>
                </a:solidFill>
                <a:hlinkClick r:id="rId2">
                  <a:extLst>
                    <a:ext uri="{A12FA001-AC4F-418D-AE19-62706E023703}">
                      <ahyp:hlinkClr xmlns:ahyp="http://schemas.microsoft.com/office/drawing/2018/hyperlinkcolor" val="tx"/>
                    </a:ext>
                  </a:extLst>
                </a:hlinkClick>
              </a:rPr>
              <a:t>https://www.microsoft.com/en-us/legal/intellectualproperty/permissions</a:t>
            </a:r>
            <a:endParaRPr lang="en-US" sz="1800" b="1">
              <a:solidFill>
                <a:srgbClr val="00B0F0"/>
              </a:solidFill>
            </a:endParaRPr>
          </a:p>
          <a:p>
            <a:r>
              <a:rPr lang="en-US" sz="1800">
                <a:solidFill>
                  <a:schemeClr val="bg1"/>
                </a:solidFill>
              </a:rPr>
              <a:t>Microsoft®, Internet Explorer®, Outlook®, One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604956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image" Target="../media/image6.emf"/><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094" r:id="rId12"/>
    <p:sldLayoutId id="2147484268" r:id="rId13"/>
    <p:sldLayoutId id="2147484195" r:id="rId14"/>
    <p:sldLayoutId id="2147484096" r:id="rId1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50004912"/>
      </p:ext>
    </p:extLst>
  </p:cSld>
  <p:clrMap bg1="lt1" tx1="dk1" bg2="lt2" tx2="dk2" accent1="accent1" accent2="accent2" accent3="accent3" accent4="accent4" accent5="accent5" accent6="accent6" hlink="hlink" folHlink="folHlink"/>
  <p:sldLayoutIdLst>
    <p:sldLayoutId id="2147484276" r:id="rId1"/>
    <p:sldLayoutId id="2147484288" r:id="rId2"/>
    <p:sldLayoutId id="2147484289" r:id="rId3"/>
    <p:sldLayoutId id="2147484296" r:id="rId4"/>
    <p:sldLayoutId id="2147484290" r:id="rId5"/>
    <p:sldLayoutId id="2147484297" r:id="rId6"/>
    <p:sldLayoutId id="2147484298" r:id="rId7"/>
    <p:sldLayoutId id="2147484299" r:id="rId8"/>
    <p:sldLayoutId id="2147484300" r:id="rId9"/>
    <p:sldLayoutId id="2147484301" r:id="rId10"/>
    <p:sldLayoutId id="2147484291" r:id="rId11"/>
    <p:sldLayoutId id="2147484302" r:id="rId12"/>
    <p:sldLayoutId id="2147484292" r:id="rId13"/>
    <p:sldLayoutId id="2147484303" r:id="rId14"/>
    <p:sldLayoutId id="2147484293" r:id="rId15"/>
    <p:sldLayoutId id="2147484294" r:id="rId16"/>
    <p:sldLayoutId id="2147484295" r:id="rId17"/>
    <p:sldLayoutId id="2147484305" r:id="rId18"/>
    <p:sldLayoutId id="2147484306" r:id="rId19"/>
    <p:sldLayoutId id="2147484307" r:id="rId20"/>
    <p:sldLayoutId id="2147484308" r:id="rId21"/>
    <p:sldLayoutId id="2147484309" r:id="rId22"/>
    <p:sldLayoutId id="2147484310" r:id="rId23"/>
    <p:sldLayoutId id="2147484311" r:id="rId24"/>
    <p:sldLayoutId id="2147484312"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accent3"/>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2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1"/>
          <a:srcRect l="762"/>
          <a:stretch/>
        </p:blipFill>
        <p:spPr>
          <a:xfrm rot="5400000">
            <a:off x="9700947" y="2900301"/>
            <a:ext cx="6994525" cy="1193925"/>
          </a:xfrm>
          <a:prstGeom prst="rect">
            <a:avLst/>
          </a:prstGeom>
        </p:spPr>
      </p:pic>
      <p:sp>
        <p:nvSpPr>
          <p:cNvPr id="49" name="TextBox 48">
            <a:extLst>
              <a:ext uri="{FF2B5EF4-FFF2-40B4-BE49-F238E27FC236}">
                <a16:creationId xmlns:a16="http://schemas.microsoft.com/office/drawing/2014/main" id="{9C393D95-6C2B-401B-9906-75DC7A06DFB0}"/>
              </a:ext>
            </a:extLst>
          </p:cNvPr>
          <p:cNvSpPr txBox="1"/>
          <p:nvPr userDrawn="1"/>
        </p:nvSpPr>
        <p:spPr>
          <a:xfrm>
            <a:off x="5489266" y="6727595"/>
            <a:ext cx="1457944" cy="235427"/>
          </a:xfrm>
          <a:prstGeom prst="rect">
            <a:avLst/>
          </a:prstGeom>
          <a:noFill/>
        </p:spPr>
        <p:txBody>
          <a:bodyPr wrap="square">
            <a:spAutoFit/>
          </a:bodyPr>
          <a:lstStyle/>
          <a:p>
            <a:pPr algn="ctr"/>
            <a:r>
              <a:rPr lang="en-US" sz="900" b="0">
                <a:solidFill>
                  <a:schemeClr val="bg1"/>
                </a:solidFill>
              </a:rPr>
              <a:t>Microsoft Confidential</a:t>
            </a:r>
          </a:p>
        </p:txBody>
      </p:sp>
    </p:spTree>
    <p:extLst>
      <p:ext uri="{BB962C8B-B14F-4D97-AF65-F5344CB8AC3E}">
        <p14:creationId xmlns:p14="http://schemas.microsoft.com/office/powerpoint/2010/main" val="1935024835"/>
      </p:ext>
    </p:extLst>
  </p:cSld>
  <p:clrMap bg1="lt1" tx1="dk1" bg2="lt2" tx2="dk2" accent1="accent1" accent2="accent2" accent3="accent3" accent4="accent4" accent5="accent5" accent6="accent6" hlink="hlink" folHlink="folHlink"/>
  <p:sldLayoutIdLst>
    <p:sldLayoutId id="2147484792" r:id="rId1"/>
    <p:sldLayoutId id="2147484793" r:id="rId2"/>
    <p:sldLayoutId id="2147484794" r:id="rId3"/>
    <p:sldLayoutId id="2147484795" r:id="rId4"/>
    <p:sldLayoutId id="2147484796" r:id="rId5"/>
    <p:sldLayoutId id="2147484797" r:id="rId6"/>
    <p:sldLayoutId id="2147484798" r:id="rId7"/>
    <p:sldLayoutId id="2147484799" r:id="rId8"/>
    <p:sldLayoutId id="2147484800" r:id="rId9"/>
    <p:sldLayoutId id="2147484801" r:id="rId10"/>
    <p:sldLayoutId id="2147484812" r:id="rId11"/>
    <p:sldLayoutId id="2147484827" r:id="rId12"/>
    <p:sldLayoutId id="2147484830" r:id="rId13"/>
    <p:sldLayoutId id="2147484900" r:id="rId14"/>
    <p:sldLayoutId id="2147484902" r:id="rId15"/>
    <p:sldLayoutId id="2147484945" r:id="rId16"/>
    <p:sldLayoutId id="2147484956" r:id="rId17"/>
    <p:sldLayoutId id="2147484936" r:id="rId18"/>
    <p:sldLayoutId id="2147484957" r:id="rId19"/>
  </p:sldLayoutIdLst>
  <p:transition>
    <p:fade/>
  </p:transition>
  <p:hf sldNum="0" hdr="0" ftr="0" dt="0"/>
  <p:txStyles>
    <p:titleStyle>
      <a:lvl1pPr algn="l" defTabSz="951304" rtl="0" eaLnBrk="1" latinLnBrk="0" hangingPunct="1">
        <a:lnSpc>
          <a:spcPct val="100000"/>
        </a:lnSpc>
        <a:spcBef>
          <a:spcPct val="0"/>
        </a:spcBef>
        <a:buNone/>
        <a:defRPr lang="en-US" sz="3700" b="0" kern="1200" cap="none" spc="-51" baseline="0" dirty="0" smtClean="0">
          <a:ln w="3175">
            <a:noFill/>
          </a:ln>
          <a:solidFill>
            <a:schemeClr val="bg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900" kern="1200" spc="0" baseline="0">
          <a:solidFill>
            <a:schemeClr val="bg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51304" rtl="0" eaLnBrk="1" latinLnBrk="0" hangingPunct="1">
        <a:defRPr sz="1800" kern="1200">
          <a:solidFill>
            <a:schemeClr val="tx1"/>
          </a:solidFill>
          <a:latin typeface="+mn-lt"/>
          <a:ea typeface="+mn-ea"/>
          <a:cs typeface="+mn-cs"/>
        </a:defRPr>
      </a:lvl1pPr>
      <a:lvl2pPr marL="475652" algn="l" defTabSz="951304" rtl="0" eaLnBrk="1" latinLnBrk="0" hangingPunct="1">
        <a:defRPr sz="1800" kern="1200">
          <a:solidFill>
            <a:schemeClr val="tx1"/>
          </a:solidFill>
          <a:latin typeface="+mn-lt"/>
          <a:ea typeface="+mn-ea"/>
          <a:cs typeface="+mn-cs"/>
        </a:defRPr>
      </a:lvl2pPr>
      <a:lvl3pPr marL="951304" algn="l" defTabSz="951304" rtl="0" eaLnBrk="1" latinLnBrk="0" hangingPunct="1">
        <a:defRPr sz="1800" kern="1200">
          <a:solidFill>
            <a:schemeClr val="tx1"/>
          </a:solidFill>
          <a:latin typeface="+mn-lt"/>
          <a:ea typeface="+mn-ea"/>
          <a:cs typeface="+mn-cs"/>
        </a:defRPr>
      </a:lvl3pPr>
      <a:lvl4pPr marL="1426955" algn="l" defTabSz="951304" rtl="0" eaLnBrk="1" latinLnBrk="0" hangingPunct="1">
        <a:defRPr sz="1800" kern="1200">
          <a:solidFill>
            <a:schemeClr val="tx1"/>
          </a:solidFill>
          <a:latin typeface="+mn-lt"/>
          <a:ea typeface="+mn-ea"/>
          <a:cs typeface="+mn-cs"/>
        </a:defRPr>
      </a:lvl4pPr>
      <a:lvl5pPr marL="1902607" algn="l" defTabSz="951304" rtl="0" eaLnBrk="1" latinLnBrk="0" hangingPunct="1">
        <a:defRPr sz="1800" kern="1200">
          <a:solidFill>
            <a:schemeClr val="tx1"/>
          </a:solidFill>
          <a:latin typeface="+mn-lt"/>
          <a:ea typeface="+mn-ea"/>
          <a:cs typeface="+mn-cs"/>
        </a:defRPr>
      </a:lvl5pPr>
      <a:lvl6pPr marL="2378260" algn="l" defTabSz="951304" rtl="0" eaLnBrk="1" latinLnBrk="0" hangingPunct="1">
        <a:defRPr sz="1800" kern="1200">
          <a:solidFill>
            <a:schemeClr val="tx1"/>
          </a:solidFill>
          <a:latin typeface="+mn-lt"/>
          <a:ea typeface="+mn-ea"/>
          <a:cs typeface="+mn-cs"/>
        </a:defRPr>
      </a:lvl6pPr>
      <a:lvl7pPr marL="2853911" algn="l" defTabSz="951304" rtl="0" eaLnBrk="1" latinLnBrk="0" hangingPunct="1">
        <a:defRPr sz="1800" kern="1200">
          <a:solidFill>
            <a:schemeClr val="tx1"/>
          </a:solidFill>
          <a:latin typeface="+mn-lt"/>
          <a:ea typeface="+mn-ea"/>
          <a:cs typeface="+mn-cs"/>
        </a:defRPr>
      </a:lvl7pPr>
      <a:lvl8pPr marL="3329562" algn="l" defTabSz="951304" rtl="0" eaLnBrk="1" latinLnBrk="0" hangingPunct="1">
        <a:defRPr sz="1800" kern="1200">
          <a:solidFill>
            <a:schemeClr val="tx1"/>
          </a:solidFill>
          <a:latin typeface="+mn-lt"/>
          <a:ea typeface="+mn-ea"/>
          <a:cs typeface="+mn-cs"/>
        </a:defRPr>
      </a:lvl8pPr>
      <a:lvl9pPr marL="3805215" algn="l" defTabSz="95130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75" userDrawn="1">
          <p15:clr>
            <a:srgbClr val="C35EA4"/>
          </p15:clr>
        </p15:guide>
        <p15:guide id="17" pos="7460" userDrawn="1">
          <p15:clr>
            <a:srgbClr val="C35EA4"/>
          </p15:clr>
        </p15:guide>
        <p15:guide id="25" orient="horz" pos="376" userDrawn="1">
          <p15:clr>
            <a:srgbClr val="C35EA4"/>
          </p15:clr>
        </p15:guide>
        <p15:guide id="26" orient="horz" pos="4028" userDrawn="1">
          <p15:clr>
            <a:srgbClr val="C35EA4"/>
          </p15:clr>
        </p15:guide>
        <p15:guide id="27" orient="horz" pos="188" userDrawn="1">
          <p15:clr>
            <a:srgbClr val="A4A3A4"/>
          </p15:clr>
        </p15:guide>
        <p15:guide id="28" pos="189" userDrawn="1">
          <p15:clr>
            <a:srgbClr val="A4A3A4"/>
          </p15:clr>
        </p15:guide>
        <p15:guide id="29" orient="horz" pos="4217" userDrawn="1">
          <p15:clr>
            <a:srgbClr val="A4A3A4"/>
          </p15:clr>
        </p15:guide>
        <p15:guide id="30" pos="764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2.xml"/><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22.xml"/><Relationship Id="rId5" Type="http://schemas.openxmlformats.org/officeDocument/2006/relationships/image" Target="../media/image28.pn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2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5.png"/><Relationship Id="rId7" Type="http://schemas.openxmlformats.org/officeDocument/2006/relationships/diagramColors" Target="../diagrams/colors1.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solidFill>
            <a:srgbClr val="0078D7"/>
          </a:solidFill>
        </p:spPr>
        <p:txBody>
          <a:bodyPr/>
          <a:lstStyle/>
          <a:p>
            <a:r>
              <a:rPr lang="en-US" dirty="0">
                <a:cs typeface="Segoe UI"/>
              </a:rPr>
              <a:t>Module 6: Introduction to Power Apps</a:t>
            </a:r>
            <a:endParaRPr lang="en-US" dirty="0"/>
          </a:p>
        </p:txBody>
      </p:sp>
    </p:spTree>
    <p:extLst>
      <p:ext uri="{BB962C8B-B14F-4D97-AF65-F5344CB8AC3E}">
        <p14:creationId xmlns:p14="http://schemas.microsoft.com/office/powerpoint/2010/main" val="132505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019DC-86F3-4E9B-98C7-3DDB592F24FB}"/>
              </a:ext>
            </a:extLst>
          </p:cNvPr>
          <p:cNvSpPr>
            <a:spLocks noGrp="1"/>
          </p:cNvSpPr>
          <p:nvPr>
            <p:ph type="title"/>
          </p:nvPr>
        </p:nvSpPr>
        <p:spPr/>
        <p:txBody>
          <a:bodyPr/>
          <a:lstStyle/>
          <a:p>
            <a:r>
              <a:rPr lang="en-US">
                <a:ea typeface="+mj-lt"/>
                <a:cs typeface="+mj-lt"/>
              </a:rPr>
              <a:t>Embed a canvas app as tab app in Teams</a:t>
            </a:r>
            <a:endParaRPr lang="en-US"/>
          </a:p>
        </p:txBody>
      </p:sp>
      <p:sp>
        <p:nvSpPr>
          <p:cNvPr id="3" name="TextBox 2">
            <a:extLst>
              <a:ext uri="{FF2B5EF4-FFF2-40B4-BE49-F238E27FC236}">
                <a16:creationId xmlns:a16="http://schemas.microsoft.com/office/drawing/2014/main" id="{536E12BC-DC35-4379-A780-AF4A66A60088}"/>
              </a:ext>
            </a:extLst>
          </p:cNvPr>
          <p:cNvSpPr txBox="1"/>
          <p:nvPr/>
        </p:nvSpPr>
        <p:spPr>
          <a:xfrm>
            <a:off x="455500" y="1209954"/>
            <a:ext cx="7515512" cy="5401479"/>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285750" indent="-285750">
              <a:lnSpc>
                <a:spcPct val="90000"/>
              </a:lnSpc>
              <a:spcAft>
                <a:spcPts val="600"/>
              </a:spcAft>
              <a:buFont typeface="Arial"/>
              <a:buChar char="•"/>
            </a:pPr>
            <a:r>
              <a:rPr lang="en-US">
                <a:solidFill>
                  <a:srgbClr val="171717"/>
                </a:solidFill>
                <a:latin typeface="Segoe UI"/>
                <a:cs typeface="Segoe UI"/>
              </a:rPr>
              <a:t>In Microsoft Teams</a:t>
            </a:r>
            <a:r>
              <a:rPr lang="en-US">
                <a:solidFill>
                  <a:srgbClr val="171717"/>
                </a:solidFill>
                <a:cs typeface="Segoe UI"/>
              </a:rPr>
              <a:t>, select a team, and a channel under that team. In this example, it's the </a:t>
            </a:r>
            <a:r>
              <a:rPr lang="en-US" b="1">
                <a:solidFill>
                  <a:srgbClr val="171717"/>
                </a:solidFill>
                <a:cs typeface="Segoe UI"/>
              </a:rPr>
              <a:t>General</a:t>
            </a:r>
            <a:r>
              <a:rPr lang="en-US">
                <a:solidFill>
                  <a:srgbClr val="171717"/>
                </a:solidFill>
                <a:cs typeface="Segoe UI"/>
              </a:rPr>
              <a:t> channel under the </a:t>
            </a:r>
            <a:r>
              <a:rPr lang="en-US" b="1">
                <a:solidFill>
                  <a:srgbClr val="171717"/>
                </a:solidFill>
                <a:cs typeface="Segoe UI"/>
              </a:rPr>
              <a:t>Business Development</a:t>
            </a:r>
            <a:r>
              <a:rPr lang="en-US">
                <a:solidFill>
                  <a:srgbClr val="171717"/>
                </a:solidFill>
                <a:cs typeface="Segoe UI"/>
              </a:rPr>
              <a:t> team.</a:t>
            </a:r>
          </a:p>
          <a:p>
            <a:pPr marL="285750" indent="-285750">
              <a:lnSpc>
                <a:spcPct val="90000"/>
              </a:lnSpc>
              <a:spcAft>
                <a:spcPts val="600"/>
              </a:spcAft>
              <a:buFont typeface="Arial"/>
              <a:buChar char="•"/>
            </a:pPr>
            <a:endParaRPr lang="en-US">
              <a:solidFill>
                <a:srgbClr val="171717"/>
              </a:solidFill>
              <a:ea typeface="+mn-lt"/>
              <a:cs typeface="+mn-lt"/>
            </a:endParaRPr>
          </a:p>
          <a:p>
            <a:pPr marL="285750" indent="-285750">
              <a:lnSpc>
                <a:spcPct val="90000"/>
              </a:lnSpc>
              <a:spcAft>
                <a:spcPts val="600"/>
              </a:spcAft>
              <a:buFont typeface="Arial"/>
              <a:buChar char="•"/>
            </a:pPr>
            <a:endParaRPr lang="en-US">
              <a:solidFill>
                <a:srgbClr val="171717"/>
              </a:solidFill>
              <a:ea typeface="+mn-lt"/>
              <a:cs typeface="+mn-lt"/>
            </a:endParaRPr>
          </a:p>
          <a:p>
            <a:pPr marL="285750" indent="-285750">
              <a:lnSpc>
                <a:spcPct val="90000"/>
              </a:lnSpc>
              <a:spcAft>
                <a:spcPts val="600"/>
              </a:spcAft>
              <a:buFont typeface="Arial"/>
              <a:buChar char="•"/>
            </a:pPr>
            <a:r>
              <a:rPr lang="en-US">
                <a:ea typeface="+mn-lt"/>
                <a:cs typeface="+mn-lt"/>
              </a:rPr>
              <a:t>Choose </a:t>
            </a:r>
            <a:r>
              <a:rPr lang="en-US" b="1">
                <a:ea typeface="+mn-lt"/>
                <a:cs typeface="+mn-lt"/>
              </a:rPr>
              <a:t>+</a:t>
            </a:r>
            <a:r>
              <a:rPr lang="en-US">
                <a:ea typeface="+mn-lt"/>
                <a:cs typeface="+mn-lt"/>
              </a:rPr>
              <a:t> to add a tab.</a:t>
            </a:r>
            <a:endParaRPr lang="en-US">
              <a:solidFill>
                <a:srgbClr val="171717"/>
              </a:solidFill>
              <a:cs typeface="Segoe UI"/>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r>
              <a:rPr lang="en-US">
                <a:ea typeface="+mn-lt"/>
                <a:cs typeface="+mn-lt"/>
              </a:rPr>
              <a:t>In the </a:t>
            </a:r>
            <a:r>
              <a:rPr lang="en-US" b="1">
                <a:ea typeface="+mn-lt"/>
                <a:cs typeface="+mn-lt"/>
              </a:rPr>
              <a:t>Add a tab</a:t>
            </a:r>
            <a:r>
              <a:rPr lang="en-US">
                <a:ea typeface="+mn-lt"/>
                <a:cs typeface="+mn-lt"/>
              </a:rPr>
              <a:t> dialog box, choose </a:t>
            </a:r>
            <a:r>
              <a:rPr lang="en-US" b="1">
                <a:ea typeface="+mn-lt"/>
                <a:cs typeface="+mn-lt"/>
              </a:rPr>
              <a:t>Power Apps</a:t>
            </a:r>
            <a:r>
              <a:rPr lang="en-US">
                <a:ea typeface="+mn-lt"/>
                <a:cs typeface="+mn-lt"/>
              </a:rPr>
              <a:t>.</a:t>
            </a:r>
            <a:endParaRPr lang="en-US">
              <a:cs typeface="Segoe UI"/>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endParaRPr lang="en-US">
              <a:ea typeface="+mn-lt"/>
              <a:cs typeface="+mn-lt"/>
            </a:endParaRPr>
          </a:p>
          <a:p>
            <a:pPr marL="285750" indent="-285750">
              <a:lnSpc>
                <a:spcPct val="90000"/>
              </a:lnSpc>
              <a:spcAft>
                <a:spcPts val="600"/>
              </a:spcAft>
              <a:buFont typeface="Arial"/>
              <a:buChar char="•"/>
            </a:pPr>
            <a:r>
              <a:rPr lang="en-US">
                <a:ea typeface="+mn-lt"/>
                <a:cs typeface="+mn-lt"/>
              </a:rPr>
              <a:t>Choose </a:t>
            </a:r>
            <a:r>
              <a:rPr lang="en-US" b="1">
                <a:ea typeface="+mn-lt"/>
                <a:cs typeface="+mn-lt"/>
              </a:rPr>
              <a:t>Sample apps</a:t>
            </a:r>
            <a:r>
              <a:rPr lang="en-US">
                <a:ea typeface="+mn-lt"/>
                <a:cs typeface="+mn-lt"/>
              </a:rPr>
              <a:t> &gt; </a:t>
            </a:r>
            <a:r>
              <a:rPr lang="en-US" b="1">
                <a:ea typeface="+mn-lt"/>
                <a:cs typeface="+mn-lt"/>
              </a:rPr>
              <a:t>Product Showcase</a:t>
            </a:r>
            <a:r>
              <a:rPr lang="en-US">
                <a:ea typeface="+mn-lt"/>
                <a:cs typeface="+mn-lt"/>
              </a:rPr>
              <a:t> &gt; </a:t>
            </a:r>
            <a:r>
              <a:rPr lang="en-US" b="1">
                <a:ea typeface="+mn-lt"/>
                <a:cs typeface="+mn-lt"/>
              </a:rPr>
              <a:t>Save</a:t>
            </a:r>
            <a:br>
              <a:rPr lang="en-US"/>
            </a:br>
            <a:endParaRPr lang="en-US">
              <a:cs typeface="Segoe UI"/>
            </a:endParaRPr>
          </a:p>
          <a:p>
            <a:pPr marL="285750" indent="-285750">
              <a:lnSpc>
                <a:spcPct val="90000"/>
              </a:lnSpc>
              <a:spcAft>
                <a:spcPts val="600"/>
              </a:spcAft>
              <a:buFont typeface="Arial"/>
              <a:buChar char="•"/>
            </a:pPr>
            <a:endParaRPr lang="en-US">
              <a:solidFill>
                <a:srgbClr val="505050"/>
              </a:solidFill>
              <a:cs typeface="Segoe UI"/>
            </a:endParaRPr>
          </a:p>
          <a:p>
            <a:pPr marL="285750" indent="-285750">
              <a:lnSpc>
                <a:spcPct val="90000"/>
              </a:lnSpc>
              <a:spcAft>
                <a:spcPts val="600"/>
              </a:spcAft>
              <a:buFont typeface="Arial"/>
              <a:buChar char="•"/>
            </a:pPr>
            <a:endParaRPr lang="en-US">
              <a:solidFill>
                <a:srgbClr val="171717"/>
              </a:solidFill>
              <a:cs typeface="Segoe UI"/>
            </a:endParaRPr>
          </a:p>
        </p:txBody>
      </p:sp>
      <p:pic>
        <p:nvPicPr>
          <p:cNvPr id="4" name="Picture 4" descr="Graphical user interface, text, application, email, Teams&#10;&#10;Description automatically generated">
            <a:extLst>
              <a:ext uri="{FF2B5EF4-FFF2-40B4-BE49-F238E27FC236}">
                <a16:creationId xmlns:a16="http://schemas.microsoft.com/office/drawing/2014/main" id="{3B34A27B-F92B-46A7-A5A0-10A46B99A243}"/>
              </a:ext>
            </a:extLst>
          </p:cNvPr>
          <p:cNvPicPr>
            <a:picLocks noChangeAspect="1"/>
          </p:cNvPicPr>
          <p:nvPr/>
        </p:nvPicPr>
        <p:blipFill>
          <a:blip r:embed="rId3"/>
          <a:stretch>
            <a:fillRect/>
          </a:stretch>
        </p:blipFill>
        <p:spPr>
          <a:xfrm>
            <a:off x="8387645" y="974446"/>
            <a:ext cx="2742717" cy="1242811"/>
          </a:xfrm>
          <a:prstGeom prst="rect">
            <a:avLst/>
          </a:prstGeom>
        </p:spPr>
      </p:pic>
      <p:pic>
        <p:nvPicPr>
          <p:cNvPr id="5" name="Picture 5" descr="Graphical user interface, application&#10;&#10;Description automatically generated">
            <a:extLst>
              <a:ext uri="{FF2B5EF4-FFF2-40B4-BE49-F238E27FC236}">
                <a16:creationId xmlns:a16="http://schemas.microsoft.com/office/drawing/2014/main" id="{B7C32472-D612-45CF-B343-DB66F2E01092}"/>
              </a:ext>
            </a:extLst>
          </p:cNvPr>
          <p:cNvPicPr>
            <a:picLocks noChangeAspect="1"/>
          </p:cNvPicPr>
          <p:nvPr/>
        </p:nvPicPr>
        <p:blipFill>
          <a:blip r:embed="rId4"/>
          <a:stretch>
            <a:fillRect/>
          </a:stretch>
        </p:blipFill>
        <p:spPr>
          <a:xfrm>
            <a:off x="8392724" y="2376324"/>
            <a:ext cx="2742717" cy="613186"/>
          </a:xfrm>
          <a:prstGeom prst="rect">
            <a:avLst/>
          </a:prstGeom>
        </p:spPr>
      </p:pic>
      <p:pic>
        <p:nvPicPr>
          <p:cNvPr id="6" name="Picture 6" descr="Graphical user interface, application&#10;&#10;Description automatically generated">
            <a:extLst>
              <a:ext uri="{FF2B5EF4-FFF2-40B4-BE49-F238E27FC236}">
                <a16:creationId xmlns:a16="http://schemas.microsoft.com/office/drawing/2014/main" id="{4B56FFEA-EA26-4D9B-8B9D-27696FA709F3}"/>
              </a:ext>
            </a:extLst>
          </p:cNvPr>
          <p:cNvPicPr>
            <a:picLocks noChangeAspect="1"/>
          </p:cNvPicPr>
          <p:nvPr/>
        </p:nvPicPr>
        <p:blipFill>
          <a:blip r:embed="rId5"/>
          <a:stretch>
            <a:fillRect/>
          </a:stretch>
        </p:blipFill>
        <p:spPr>
          <a:xfrm>
            <a:off x="8392724" y="3147980"/>
            <a:ext cx="2742717" cy="1254161"/>
          </a:xfrm>
          <a:prstGeom prst="rect">
            <a:avLst/>
          </a:prstGeom>
        </p:spPr>
      </p:pic>
      <p:pic>
        <p:nvPicPr>
          <p:cNvPr id="7" name="Picture 7" descr="Graphical user interface, application&#10;&#10;Description automatically generated">
            <a:extLst>
              <a:ext uri="{FF2B5EF4-FFF2-40B4-BE49-F238E27FC236}">
                <a16:creationId xmlns:a16="http://schemas.microsoft.com/office/drawing/2014/main" id="{696CD854-1EB3-4246-8788-32311953E2A5}"/>
              </a:ext>
            </a:extLst>
          </p:cNvPr>
          <p:cNvPicPr>
            <a:picLocks noChangeAspect="1"/>
          </p:cNvPicPr>
          <p:nvPr/>
        </p:nvPicPr>
        <p:blipFill>
          <a:blip r:embed="rId6"/>
          <a:stretch>
            <a:fillRect/>
          </a:stretch>
        </p:blipFill>
        <p:spPr>
          <a:xfrm>
            <a:off x="8540222" y="4441934"/>
            <a:ext cx="2437777" cy="2415309"/>
          </a:xfrm>
          <a:prstGeom prst="rect">
            <a:avLst/>
          </a:prstGeom>
        </p:spPr>
      </p:pic>
    </p:spTree>
    <p:extLst>
      <p:ext uri="{BB962C8B-B14F-4D97-AF65-F5344CB8AC3E}">
        <p14:creationId xmlns:p14="http://schemas.microsoft.com/office/powerpoint/2010/main" val="6019302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68427" y="984413"/>
            <a:ext cx="6901752" cy="5025697"/>
          </a:xfrm>
        </p:spPr>
        <p:txBody>
          <a:bodyPr vert="horz" lIns="91440" tIns="45720" rIns="91440" bIns="45720" rtlCol="0" anchor="ctr">
            <a:normAutofit/>
          </a:bodyPr>
          <a:lstStyle/>
          <a:p>
            <a:pPr defTabSz="914400"/>
            <a:r>
              <a:rPr lang="en-US" sz="5500" kern="1200">
                <a:solidFill>
                  <a:schemeClr val="tx1">
                    <a:lumMod val="85000"/>
                    <a:lumOff val="15000"/>
                  </a:schemeClr>
                </a:solidFill>
                <a:latin typeface="+mj-lt"/>
                <a:ea typeface="+mj-ea"/>
                <a:cs typeface="+mj-cs"/>
              </a:rPr>
              <a:t>Fundamentals</a:t>
            </a:r>
            <a:br>
              <a:rPr lang="en-US" sz="5500" kern="1200">
                <a:solidFill>
                  <a:schemeClr val="tx1">
                    <a:lumMod val="85000"/>
                    <a:lumOff val="15000"/>
                  </a:schemeClr>
                </a:solidFill>
                <a:latin typeface="+mj-lt"/>
                <a:ea typeface="+mj-ea"/>
                <a:cs typeface="+mj-cs"/>
              </a:rPr>
            </a:br>
            <a:endParaRPr lang="en-US" sz="5500" kern="120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0750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230906" y="2640107"/>
            <a:ext cx="2920139" cy="966799"/>
            <a:chOff x="637239" y="2388657"/>
            <a:chExt cx="2321314" cy="762000"/>
          </a:xfrm>
        </p:grpSpPr>
        <p:sp>
          <p:nvSpPr>
            <p:cNvPr id="2" name="Rectangle 1"/>
            <p:cNvSpPr/>
            <p:nvPr/>
          </p:nvSpPr>
          <p:spPr>
            <a:xfrm>
              <a:off x="637239" y="2581473"/>
              <a:ext cx="2321314" cy="315354"/>
            </a:xfrm>
            <a:prstGeom prst="rect">
              <a:avLst/>
            </a:prstGeom>
          </p:spPr>
          <p:txBody>
            <a:bodyPr wrap="square">
              <a:spAutoFit/>
            </a:bodyPr>
            <a:lstStyle/>
            <a:p>
              <a:pPr algn="r"/>
              <a:r>
                <a:rPr lang="en-US" sz="2000">
                  <a:solidFill>
                    <a:schemeClr val="tx1">
                      <a:lumMod val="85000"/>
                      <a:lumOff val="15000"/>
                    </a:schemeClr>
                  </a:solidFill>
                  <a:latin typeface="Segoe UI Light" panose="020B0502040204020203" pitchFamily="34" charset="0"/>
                  <a:cs typeface="Segoe UI Light" panose="020B0502040204020203" pitchFamily="34" charset="0"/>
                </a:rPr>
                <a:t>Craft forms and screens</a:t>
              </a:r>
            </a:p>
          </p:txBody>
        </p:sp>
        <p:sp>
          <p:nvSpPr>
            <p:cNvPr id="15" name="Line Callout 2 (Accent Bar) 14"/>
            <p:cNvSpPr/>
            <p:nvPr/>
          </p:nvSpPr>
          <p:spPr>
            <a:xfrm flipH="1">
              <a:off x="2874585" y="2388657"/>
              <a:ext cx="83968" cy="762000"/>
            </a:xfrm>
            <a:prstGeom prst="accentCallout2">
              <a:avLst>
                <a:gd name="adj1" fmla="val 18750"/>
                <a:gd name="adj2" fmla="val -8333"/>
                <a:gd name="adj3" fmla="val 19862"/>
                <a:gd name="adj4" fmla="val -337107"/>
                <a:gd name="adj5" fmla="val 80107"/>
                <a:gd name="adj6" fmla="val -682791"/>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p:cNvGrpSpPr/>
          <p:nvPr/>
        </p:nvGrpSpPr>
        <p:grpSpPr>
          <a:xfrm>
            <a:off x="0" y="4130326"/>
            <a:ext cx="2689234" cy="1019555"/>
            <a:chOff x="820794" y="2388658"/>
            <a:chExt cx="2137760" cy="678596"/>
          </a:xfrm>
        </p:grpSpPr>
        <p:sp>
          <p:nvSpPr>
            <p:cNvPr id="21" name="Rectangle 20"/>
            <p:cNvSpPr/>
            <p:nvPr/>
          </p:nvSpPr>
          <p:spPr>
            <a:xfrm>
              <a:off x="820794" y="2596098"/>
              <a:ext cx="2137760" cy="471156"/>
            </a:xfrm>
            <a:prstGeom prst="rect">
              <a:avLst/>
            </a:prstGeom>
          </p:spPr>
          <p:txBody>
            <a:bodyPr wrap="square">
              <a:spAutoFit/>
            </a:bodyPr>
            <a:lstStyle/>
            <a:p>
              <a:pPr algn="r"/>
              <a:r>
                <a:rPr lang="en-US" sz="2000">
                  <a:solidFill>
                    <a:schemeClr val="tx1">
                      <a:lumMod val="85000"/>
                      <a:lumOff val="15000"/>
                    </a:schemeClr>
                  </a:solidFill>
                  <a:latin typeface="Segoe UI Light" panose="020B0502040204020203" pitchFamily="34" charset="0"/>
                  <a:cs typeface="Segoe UI Light" panose="020B0502040204020203" pitchFamily="34" charset="0"/>
                </a:rPr>
                <a:t>Take advantage of device capabilities</a:t>
              </a:r>
            </a:p>
          </p:txBody>
        </p:sp>
        <p:sp>
          <p:nvSpPr>
            <p:cNvPr id="22" name="Line Callout 2 (Accent Bar) 21"/>
            <p:cNvSpPr/>
            <p:nvPr/>
          </p:nvSpPr>
          <p:spPr>
            <a:xfrm flipH="1">
              <a:off x="2874585" y="2388658"/>
              <a:ext cx="83968" cy="678596"/>
            </a:xfrm>
            <a:prstGeom prst="accentCallout2">
              <a:avLst>
                <a:gd name="adj1" fmla="val 77784"/>
                <a:gd name="adj2" fmla="val -18417"/>
                <a:gd name="adj3" fmla="val 77524"/>
                <a:gd name="adj4" fmla="val -337107"/>
                <a:gd name="adj5" fmla="val 56768"/>
                <a:gd name="adj6" fmla="val -672709"/>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2"/>
          <p:cNvGrpSpPr/>
          <p:nvPr/>
        </p:nvGrpSpPr>
        <p:grpSpPr>
          <a:xfrm flipH="1">
            <a:off x="9737083" y="3943121"/>
            <a:ext cx="2577151" cy="1448915"/>
            <a:chOff x="637240" y="2388656"/>
            <a:chExt cx="2321314" cy="880005"/>
          </a:xfrm>
        </p:grpSpPr>
        <p:sp>
          <p:nvSpPr>
            <p:cNvPr id="24" name="Rectangle 23"/>
            <p:cNvSpPr/>
            <p:nvPr/>
          </p:nvSpPr>
          <p:spPr>
            <a:xfrm>
              <a:off x="637240" y="2597003"/>
              <a:ext cx="2321314" cy="429938"/>
            </a:xfrm>
            <a:prstGeom prst="rect">
              <a:avLst/>
            </a:prstGeom>
          </p:spPr>
          <p:txBody>
            <a:bodyPr wrap="square">
              <a:spAutoFit/>
            </a:bodyPr>
            <a:lstStyle/>
            <a:p>
              <a:r>
                <a:rPr lang="en-US" sz="2000">
                  <a:solidFill>
                    <a:schemeClr val="tx1">
                      <a:lumMod val="85000"/>
                      <a:lumOff val="15000"/>
                    </a:schemeClr>
                  </a:solidFill>
                  <a:latin typeface="Segoe UI Light" panose="020B0502040204020203" pitchFamily="34" charset="0"/>
                  <a:cs typeface="Segoe UI Light" panose="020B0502040204020203" pitchFamily="34" charset="0"/>
                </a:rPr>
                <a:t>Power your app through data</a:t>
              </a:r>
            </a:p>
          </p:txBody>
        </p:sp>
        <p:sp>
          <p:nvSpPr>
            <p:cNvPr id="25" name="Line Callout 2 (Accent Bar) 24"/>
            <p:cNvSpPr/>
            <p:nvPr/>
          </p:nvSpPr>
          <p:spPr>
            <a:xfrm flipH="1">
              <a:off x="2798214" y="2388656"/>
              <a:ext cx="160340" cy="880005"/>
            </a:xfrm>
            <a:prstGeom prst="accentCallout2">
              <a:avLst>
                <a:gd name="adj1" fmla="val 20972"/>
                <a:gd name="adj2" fmla="val 1880"/>
                <a:gd name="adj3" fmla="val 20824"/>
                <a:gd name="adj4" fmla="val -224795"/>
                <a:gd name="adj5" fmla="val 60865"/>
                <a:gd name="adj6" fmla="val -372596"/>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p:cNvGrpSpPr/>
          <p:nvPr/>
        </p:nvGrpSpPr>
        <p:grpSpPr>
          <a:xfrm flipH="1">
            <a:off x="9737083" y="2137793"/>
            <a:ext cx="2577152" cy="1309166"/>
            <a:chOff x="883610" y="2388656"/>
            <a:chExt cx="2074946" cy="880005"/>
          </a:xfrm>
        </p:grpSpPr>
        <p:sp>
          <p:nvSpPr>
            <p:cNvPr id="27" name="Rectangle 26"/>
            <p:cNvSpPr/>
            <p:nvPr/>
          </p:nvSpPr>
          <p:spPr>
            <a:xfrm>
              <a:off x="883610" y="2586967"/>
              <a:ext cx="2074946" cy="475832"/>
            </a:xfrm>
            <a:prstGeom prst="rect">
              <a:avLst/>
            </a:prstGeom>
          </p:spPr>
          <p:txBody>
            <a:bodyPr wrap="square">
              <a:spAutoFit/>
            </a:bodyPr>
            <a:lstStyle/>
            <a:p>
              <a:r>
                <a:rPr lang="en-US" sz="2000">
                  <a:solidFill>
                    <a:schemeClr val="tx1">
                      <a:lumMod val="85000"/>
                      <a:lumOff val="15000"/>
                    </a:schemeClr>
                  </a:solidFill>
                  <a:latin typeface="Segoe UI Light" panose="020B0502040204020203" pitchFamily="34" charset="0"/>
                  <a:cs typeface="Segoe UI Light" panose="020B0502040204020203" pitchFamily="34" charset="0"/>
                </a:rPr>
                <a:t>Build business logic into your apps</a:t>
              </a:r>
            </a:p>
          </p:txBody>
        </p:sp>
        <p:sp>
          <p:nvSpPr>
            <p:cNvPr id="28" name="Line Callout 2 (Accent Bar) 27"/>
            <p:cNvSpPr/>
            <p:nvPr/>
          </p:nvSpPr>
          <p:spPr>
            <a:xfrm flipH="1">
              <a:off x="2798214" y="2388656"/>
              <a:ext cx="160340" cy="880005"/>
            </a:xfrm>
            <a:prstGeom prst="accentCallout2">
              <a:avLst>
                <a:gd name="adj1" fmla="val 79661"/>
                <a:gd name="adj2" fmla="val -8817"/>
                <a:gd name="adj3" fmla="val 79513"/>
                <a:gd name="adj4" fmla="val -230144"/>
                <a:gd name="adj5" fmla="val -11294"/>
                <a:gd name="adj6" fmla="val -383292"/>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itle 3">
            <a:extLst>
              <a:ext uri="{FF2B5EF4-FFF2-40B4-BE49-F238E27FC236}">
                <a16:creationId xmlns:a16="http://schemas.microsoft.com/office/drawing/2014/main" id="{125E8924-C304-4247-9EF9-F3D3E5B136BE}"/>
              </a:ext>
            </a:extLst>
          </p:cNvPr>
          <p:cNvSpPr>
            <a:spLocks noGrp="1"/>
          </p:cNvSpPr>
          <p:nvPr>
            <p:ph type="title"/>
          </p:nvPr>
        </p:nvSpPr>
        <p:spPr/>
        <p:txBody>
          <a:bodyPr/>
          <a:lstStyle/>
          <a:p>
            <a:r>
              <a:rPr lang="en-US">
                <a:solidFill>
                  <a:srgbClr val="0078D7"/>
                </a:solidFill>
                <a:cs typeface="Segoe UI"/>
              </a:rPr>
              <a:t>Power Apps Studio</a:t>
            </a:r>
            <a:br>
              <a:rPr lang="en-US"/>
            </a:br>
            <a:endParaRPr lang="en-US"/>
          </a:p>
        </p:txBody>
      </p:sp>
      <p:pic>
        <p:nvPicPr>
          <p:cNvPr id="5" name="Picture 4">
            <a:extLst>
              <a:ext uri="{FF2B5EF4-FFF2-40B4-BE49-F238E27FC236}">
                <a16:creationId xmlns:a16="http://schemas.microsoft.com/office/drawing/2014/main" id="{CC390C28-9AE9-4D30-85CC-F8D765C76398}"/>
              </a:ext>
            </a:extLst>
          </p:cNvPr>
          <p:cNvPicPr>
            <a:picLocks noChangeAspect="1"/>
          </p:cNvPicPr>
          <p:nvPr/>
        </p:nvPicPr>
        <p:blipFill>
          <a:blip r:embed="rId3"/>
          <a:stretch>
            <a:fillRect/>
          </a:stretch>
        </p:blipFill>
        <p:spPr>
          <a:xfrm>
            <a:off x="3088894" y="1584930"/>
            <a:ext cx="6024943" cy="4045932"/>
          </a:xfrm>
          <a:prstGeom prst="rect">
            <a:avLst/>
          </a:prstGeom>
        </p:spPr>
      </p:pic>
    </p:spTree>
    <p:extLst>
      <p:ext uri="{BB962C8B-B14F-4D97-AF65-F5344CB8AC3E}">
        <p14:creationId xmlns:p14="http://schemas.microsoft.com/office/powerpoint/2010/main" val="1491234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03CF04-474B-4E7D-AB5C-A8B15AC59B12}"/>
              </a:ext>
            </a:extLst>
          </p:cNvPr>
          <p:cNvPicPr>
            <a:picLocks noChangeAspect="1"/>
          </p:cNvPicPr>
          <p:nvPr/>
        </p:nvPicPr>
        <p:blipFill>
          <a:blip r:embed="rId3"/>
          <a:stretch>
            <a:fillRect/>
          </a:stretch>
        </p:blipFill>
        <p:spPr>
          <a:xfrm>
            <a:off x="884237" y="1135062"/>
            <a:ext cx="10551894" cy="5105400"/>
          </a:xfrm>
          <a:prstGeom prst="rect">
            <a:avLst/>
          </a:prstGeom>
        </p:spPr>
      </p:pic>
      <p:sp>
        <p:nvSpPr>
          <p:cNvPr id="9" name="Title 8">
            <a:extLst>
              <a:ext uri="{FF2B5EF4-FFF2-40B4-BE49-F238E27FC236}">
                <a16:creationId xmlns:a16="http://schemas.microsoft.com/office/drawing/2014/main" id="{CFA559AD-4C6A-43CC-BEFA-3713581D3866}"/>
              </a:ext>
            </a:extLst>
          </p:cNvPr>
          <p:cNvSpPr>
            <a:spLocks noGrp="1"/>
          </p:cNvSpPr>
          <p:nvPr>
            <p:ph type="title"/>
          </p:nvPr>
        </p:nvSpPr>
        <p:spPr/>
        <p:txBody>
          <a:bodyPr/>
          <a:lstStyle/>
          <a:p>
            <a:r>
              <a:rPr lang="en-US">
                <a:solidFill>
                  <a:srgbClr val="0078D7"/>
                </a:solidFill>
                <a:cs typeface="Segoe UI"/>
              </a:rPr>
              <a:t>Power Apps Studio components</a:t>
            </a:r>
            <a:br>
              <a:rPr lang="en-US"/>
            </a:br>
            <a:endParaRPr lang="en-US"/>
          </a:p>
        </p:txBody>
      </p:sp>
    </p:spTree>
    <p:extLst>
      <p:ext uri="{BB962C8B-B14F-4D97-AF65-F5344CB8AC3E}">
        <p14:creationId xmlns:p14="http://schemas.microsoft.com/office/powerpoint/2010/main" val="38163193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C532B9-1692-43B5-938B-BB438AC5343F}"/>
              </a:ext>
            </a:extLst>
          </p:cNvPr>
          <p:cNvSpPr>
            <a:spLocks noGrp="1"/>
          </p:cNvSpPr>
          <p:nvPr>
            <p:ph type="title"/>
          </p:nvPr>
        </p:nvSpPr>
        <p:spPr>
          <a:xfrm>
            <a:off x="2255202" y="373062"/>
            <a:ext cx="3505518" cy="1514261"/>
          </a:xfrm>
        </p:spPr>
        <p:txBody>
          <a:bodyPr/>
          <a:lstStyle/>
          <a:p>
            <a:r>
              <a:rPr lang="en-US">
                <a:solidFill>
                  <a:srgbClr val="0078D7"/>
                </a:solidFill>
                <a:cs typeface="Segoe UI"/>
              </a:rPr>
              <a:t>Power Apps Studio</a:t>
            </a:r>
          </a:p>
        </p:txBody>
      </p:sp>
      <p:sp>
        <p:nvSpPr>
          <p:cNvPr id="5" name="Text Placeholder 4">
            <a:extLst>
              <a:ext uri="{FF2B5EF4-FFF2-40B4-BE49-F238E27FC236}">
                <a16:creationId xmlns:a16="http://schemas.microsoft.com/office/drawing/2014/main" id="{E6DD22F5-FCD1-4626-9B8E-858520FA2A89}"/>
              </a:ext>
            </a:extLst>
          </p:cNvPr>
          <p:cNvSpPr>
            <a:spLocks noGrp="1"/>
          </p:cNvSpPr>
          <p:nvPr>
            <p:ph type="body" sz="quarter" idx="12"/>
          </p:nvPr>
        </p:nvSpPr>
        <p:spPr>
          <a:xfrm>
            <a:off x="274320" y="3017520"/>
            <a:ext cx="5486400" cy="3696781"/>
          </a:xfrm>
        </p:spPr>
        <p:txBody>
          <a:bodyPr/>
          <a:lstStyle/>
          <a:p>
            <a:pPr marL="457112" indent="-457112">
              <a:lnSpc>
                <a:spcPct val="110000"/>
              </a:lnSpc>
              <a:spcBef>
                <a:spcPts val="2000"/>
              </a:spcBef>
              <a:buFont typeface="+mj-lt"/>
              <a:buAutoNum type="arabicPeriod"/>
            </a:pPr>
            <a:r>
              <a:rPr lang="en-US" spc="50">
                <a:latin typeface="Segoe UI Semilight" panose="020B0402040204020203" pitchFamily="34" charset="0"/>
                <a:cs typeface="Segoe UI Semilight" panose="020B0402040204020203" pitchFamily="34" charset="0"/>
              </a:rPr>
              <a:t>Navigate to Power Apps Portal</a:t>
            </a:r>
          </a:p>
          <a:p>
            <a:pPr marL="457112" indent="-457112">
              <a:lnSpc>
                <a:spcPct val="110000"/>
              </a:lnSpc>
              <a:spcBef>
                <a:spcPts val="2000"/>
              </a:spcBef>
              <a:buFont typeface="+mj-lt"/>
              <a:buAutoNum type="arabicPeriod"/>
            </a:pPr>
            <a:r>
              <a:rPr lang="en-US" spc="50">
                <a:latin typeface="Segoe UI Semilight" panose="020B0402040204020203" pitchFamily="34" charset="0"/>
                <a:cs typeface="Segoe UI Semilight" panose="020B0402040204020203" pitchFamily="34" charset="0"/>
              </a:rPr>
              <a:t>Deploy a template app</a:t>
            </a:r>
          </a:p>
          <a:p>
            <a:pPr marL="457112" indent="-457112">
              <a:lnSpc>
                <a:spcPct val="110000"/>
              </a:lnSpc>
              <a:spcBef>
                <a:spcPts val="2000"/>
              </a:spcBef>
              <a:buFont typeface="+mj-lt"/>
              <a:buAutoNum type="arabicPeriod"/>
            </a:pPr>
            <a:r>
              <a:rPr lang="en-US" spc="50">
                <a:latin typeface="Segoe UI Semilight" panose="020B0402040204020203" pitchFamily="34" charset="0"/>
                <a:cs typeface="Segoe UI Semilight" panose="020B0402040204020203" pitchFamily="34" charset="0"/>
              </a:rPr>
              <a:t>Explore app in Power Apps Studio</a:t>
            </a:r>
          </a:p>
        </p:txBody>
      </p:sp>
    </p:spTree>
    <p:extLst>
      <p:ext uri="{BB962C8B-B14F-4D97-AF65-F5344CB8AC3E}">
        <p14:creationId xmlns:p14="http://schemas.microsoft.com/office/powerpoint/2010/main" val="23639884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2C15F-95E3-481D-A0CF-AE6555E28DA2}"/>
              </a:ext>
            </a:extLst>
          </p:cNvPr>
          <p:cNvSpPr>
            <a:spLocks noGrp="1"/>
          </p:cNvSpPr>
          <p:nvPr>
            <p:ph type="title"/>
          </p:nvPr>
        </p:nvSpPr>
        <p:spPr/>
        <p:txBody>
          <a:bodyPr/>
          <a:lstStyle/>
          <a:p>
            <a:r>
              <a:rPr lang="en-US">
                <a:solidFill>
                  <a:srgbClr val="0078D7"/>
                </a:solidFill>
                <a:cs typeface="Segoe UI"/>
              </a:rPr>
              <a:t>Creating an App </a:t>
            </a:r>
            <a:br>
              <a:rPr lang="en-US"/>
            </a:br>
            <a:endParaRPr lang="en-US"/>
          </a:p>
        </p:txBody>
      </p:sp>
      <p:sp>
        <p:nvSpPr>
          <p:cNvPr id="5" name="Text Placeholder 4">
            <a:extLst>
              <a:ext uri="{FF2B5EF4-FFF2-40B4-BE49-F238E27FC236}">
                <a16:creationId xmlns:a16="http://schemas.microsoft.com/office/drawing/2014/main" id="{85009BE3-B1BD-4BF5-A2F8-829617D42196}"/>
              </a:ext>
            </a:extLst>
          </p:cNvPr>
          <p:cNvSpPr>
            <a:spLocks noGrp="1"/>
          </p:cNvSpPr>
          <p:nvPr>
            <p:ph type="body" sz="quarter" idx="10"/>
          </p:nvPr>
        </p:nvSpPr>
        <p:spPr>
          <a:xfrm>
            <a:off x="493077" y="1212849"/>
            <a:ext cx="5050647" cy="3122393"/>
          </a:xfrm>
        </p:spPr>
        <p:txBody>
          <a:bodyPr/>
          <a:lstStyle/>
          <a:p>
            <a:pPr marL="0" indent="0">
              <a:lnSpc>
                <a:spcPct val="120000"/>
              </a:lnSpc>
              <a:spcBef>
                <a:spcPts val="0"/>
              </a:spcBef>
              <a:spcAft>
                <a:spcPts val="300"/>
              </a:spcAft>
              <a:buNone/>
            </a:pPr>
            <a:r>
              <a:rPr lang="en-US" sz="3200">
                <a:gradFill>
                  <a:gsLst>
                    <a:gs pos="1250">
                      <a:srgbClr val="505050"/>
                    </a:gs>
                    <a:gs pos="100000">
                      <a:srgbClr val="505050"/>
                    </a:gs>
                  </a:gsLst>
                  <a:lin ang="5400000" scaled="0"/>
                </a:gradFill>
              </a:rPr>
              <a:t>3 options for creating new apps:</a:t>
            </a:r>
          </a:p>
          <a:p>
            <a:pPr lvl="1">
              <a:lnSpc>
                <a:spcPct val="120000"/>
              </a:lnSpc>
              <a:spcBef>
                <a:spcPts val="0"/>
              </a:spcBef>
            </a:pPr>
            <a:r>
              <a:rPr lang="en-US" sz="2000">
                <a:gradFill>
                  <a:gsLst>
                    <a:gs pos="1250">
                      <a:srgbClr val="505050"/>
                    </a:gs>
                    <a:gs pos="100000">
                      <a:srgbClr val="505050"/>
                    </a:gs>
                  </a:gsLst>
                  <a:lin ang="5400000" scaled="0"/>
                </a:gradFill>
              </a:rPr>
              <a:t>Start from scratch (create from blank)</a:t>
            </a:r>
          </a:p>
          <a:p>
            <a:pPr lvl="1">
              <a:lnSpc>
                <a:spcPct val="120000"/>
              </a:lnSpc>
              <a:spcBef>
                <a:spcPts val="0"/>
              </a:spcBef>
            </a:pPr>
            <a:r>
              <a:rPr lang="en-US" sz="2000">
                <a:gradFill>
                  <a:gsLst>
                    <a:gs pos="1250">
                      <a:srgbClr val="505050"/>
                    </a:gs>
                    <a:gs pos="100000">
                      <a:srgbClr val="505050"/>
                    </a:gs>
                  </a:gsLst>
                  <a:lin ang="5400000" scaled="0"/>
                </a:gradFill>
              </a:rPr>
              <a:t>Start from data</a:t>
            </a:r>
          </a:p>
          <a:p>
            <a:pPr lvl="1">
              <a:lnSpc>
                <a:spcPct val="120000"/>
              </a:lnSpc>
              <a:spcBef>
                <a:spcPts val="0"/>
              </a:spcBef>
            </a:pPr>
            <a:r>
              <a:rPr lang="en-US" sz="2000">
                <a:gradFill>
                  <a:gsLst>
                    <a:gs pos="1250">
                      <a:srgbClr val="505050"/>
                    </a:gs>
                    <a:gs pos="100000">
                      <a:srgbClr val="505050"/>
                    </a:gs>
                  </a:gsLst>
                  <a:lin ang="5400000" scaled="0"/>
                </a:gradFill>
              </a:rPr>
              <a:t>Start from a template</a:t>
            </a:r>
          </a:p>
          <a:p>
            <a:endParaRPr lang="en-US"/>
          </a:p>
        </p:txBody>
      </p:sp>
      <p:pic>
        <p:nvPicPr>
          <p:cNvPr id="3" name="Picture 2">
            <a:extLst>
              <a:ext uri="{FF2B5EF4-FFF2-40B4-BE49-F238E27FC236}">
                <a16:creationId xmlns:a16="http://schemas.microsoft.com/office/drawing/2014/main" id="{A540C662-7F41-41C5-8A50-990812FFCD9F}"/>
              </a:ext>
            </a:extLst>
          </p:cNvPr>
          <p:cNvPicPr>
            <a:picLocks noChangeAspect="1"/>
          </p:cNvPicPr>
          <p:nvPr/>
        </p:nvPicPr>
        <p:blipFill>
          <a:blip r:embed="rId3"/>
          <a:stretch>
            <a:fillRect/>
          </a:stretch>
        </p:blipFill>
        <p:spPr>
          <a:xfrm>
            <a:off x="5761038" y="1211263"/>
            <a:ext cx="5279246" cy="1602521"/>
          </a:xfrm>
          <a:prstGeom prst="rect">
            <a:avLst/>
          </a:prstGeom>
        </p:spPr>
      </p:pic>
      <p:pic>
        <p:nvPicPr>
          <p:cNvPr id="4" name="Picture 3">
            <a:extLst>
              <a:ext uri="{FF2B5EF4-FFF2-40B4-BE49-F238E27FC236}">
                <a16:creationId xmlns:a16="http://schemas.microsoft.com/office/drawing/2014/main" id="{8CAE28EB-8021-4F21-ABAF-B6605D66B2BC}"/>
              </a:ext>
            </a:extLst>
          </p:cNvPr>
          <p:cNvPicPr>
            <a:picLocks noChangeAspect="1"/>
          </p:cNvPicPr>
          <p:nvPr/>
        </p:nvPicPr>
        <p:blipFill>
          <a:blip r:embed="rId4"/>
          <a:stretch>
            <a:fillRect/>
          </a:stretch>
        </p:blipFill>
        <p:spPr>
          <a:xfrm>
            <a:off x="5761038" y="2927767"/>
            <a:ext cx="5050646" cy="1959540"/>
          </a:xfrm>
          <a:prstGeom prst="rect">
            <a:avLst/>
          </a:prstGeom>
        </p:spPr>
      </p:pic>
      <p:pic>
        <p:nvPicPr>
          <p:cNvPr id="7" name="Picture 6">
            <a:extLst>
              <a:ext uri="{FF2B5EF4-FFF2-40B4-BE49-F238E27FC236}">
                <a16:creationId xmlns:a16="http://schemas.microsoft.com/office/drawing/2014/main" id="{0FB86561-A419-45D4-9439-EF8EF758DAB4}"/>
              </a:ext>
            </a:extLst>
          </p:cNvPr>
          <p:cNvPicPr>
            <a:picLocks noChangeAspect="1"/>
          </p:cNvPicPr>
          <p:nvPr/>
        </p:nvPicPr>
        <p:blipFill>
          <a:blip r:embed="rId5"/>
          <a:stretch>
            <a:fillRect/>
          </a:stretch>
        </p:blipFill>
        <p:spPr>
          <a:xfrm>
            <a:off x="5761355" y="4656160"/>
            <a:ext cx="4870926" cy="2254204"/>
          </a:xfrm>
          <a:prstGeom prst="rect">
            <a:avLst/>
          </a:prstGeom>
        </p:spPr>
      </p:pic>
    </p:spTree>
    <p:extLst>
      <p:ext uri="{BB962C8B-B14F-4D97-AF65-F5344CB8AC3E}">
        <p14:creationId xmlns:p14="http://schemas.microsoft.com/office/powerpoint/2010/main" val="37162652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D454C0-CCED-4D53-B063-82B463E78DA7}"/>
              </a:ext>
            </a:extLst>
          </p:cNvPr>
          <p:cNvPicPr>
            <a:picLocks noChangeAspect="1"/>
          </p:cNvPicPr>
          <p:nvPr/>
        </p:nvPicPr>
        <p:blipFill>
          <a:blip r:embed="rId3"/>
          <a:stretch>
            <a:fillRect/>
          </a:stretch>
        </p:blipFill>
        <p:spPr>
          <a:xfrm>
            <a:off x="731837" y="2279649"/>
            <a:ext cx="1647682" cy="2589213"/>
          </a:xfrm>
          <a:prstGeom prst="rect">
            <a:avLst/>
          </a:prstGeom>
        </p:spPr>
      </p:pic>
      <p:sp>
        <p:nvSpPr>
          <p:cNvPr id="2" name="Title 1">
            <a:extLst>
              <a:ext uri="{FF2B5EF4-FFF2-40B4-BE49-F238E27FC236}">
                <a16:creationId xmlns:a16="http://schemas.microsoft.com/office/drawing/2014/main" id="{4CFEDFCF-D6E0-4C86-94E6-A5411E3F1AF5}"/>
              </a:ext>
            </a:extLst>
          </p:cNvPr>
          <p:cNvSpPr>
            <a:spLocks noGrp="1"/>
          </p:cNvSpPr>
          <p:nvPr>
            <p:ph type="title"/>
          </p:nvPr>
        </p:nvSpPr>
        <p:spPr/>
        <p:txBody>
          <a:bodyPr/>
          <a:lstStyle/>
          <a:p>
            <a:r>
              <a:rPr lang="en-US">
                <a:solidFill>
                  <a:srgbClr val="0078D7"/>
                </a:solidFill>
                <a:cs typeface="Segoe UI"/>
              </a:rPr>
              <a:t>Layout options</a:t>
            </a:r>
            <a:br>
              <a:rPr lang="en-US"/>
            </a:br>
            <a:endParaRPr lang="en-US"/>
          </a:p>
        </p:txBody>
      </p:sp>
      <p:sp>
        <p:nvSpPr>
          <p:cNvPr id="11" name="TextBox 10">
            <a:extLst>
              <a:ext uri="{FF2B5EF4-FFF2-40B4-BE49-F238E27FC236}">
                <a16:creationId xmlns:a16="http://schemas.microsoft.com/office/drawing/2014/main" id="{03F59770-AD8B-469B-A88E-3E29D4DA280A}"/>
              </a:ext>
            </a:extLst>
          </p:cNvPr>
          <p:cNvSpPr txBox="1"/>
          <p:nvPr/>
        </p:nvSpPr>
        <p:spPr>
          <a:xfrm>
            <a:off x="8455546" y="1051012"/>
            <a:ext cx="3133535" cy="475421"/>
          </a:xfrm>
          <a:prstGeom prst="rect">
            <a:avLst/>
          </a:prstGeom>
        </p:spPr>
        <p:txBody>
          <a:bodyPr vert="horz" wrap="square" lIns="146283" tIns="91427" rIns="0" bIns="0" rtlCol="0">
            <a:noAutofit/>
          </a:bodyPr>
          <a:lstStyle/>
          <a:p>
            <a:pPr>
              <a:lnSpc>
                <a:spcPct val="110000"/>
              </a:lnSpc>
              <a:spcBef>
                <a:spcPts val="2000"/>
              </a:spcBef>
            </a:pPr>
            <a:r>
              <a:rPr lang="en-US" sz="2000"/>
              <a:t>Screen size + Orientation</a:t>
            </a:r>
          </a:p>
          <a:p>
            <a:pPr>
              <a:lnSpc>
                <a:spcPct val="110000"/>
              </a:lnSpc>
              <a:spcBef>
                <a:spcPts val="2000"/>
              </a:spcBef>
            </a:pPr>
            <a:endParaRPr lang="en-US" sz="2000" spc="50">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
        <p:nvSpPr>
          <p:cNvPr id="12" name="TextBox 11">
            <a:extLst>
              <a:ext uri="{FF2B5EF4-FFF2-40B4-BE49-F238E27FC236}">
                <a16:creationId xmlns:a16="http://schemas.microsoft.com/office/drawing/2014/main" id="{BFDCB6BC-4837-48FD-907E-BBD2084BA873}"/>
              </a:ext>
            </a:extLst>
          </p:cNvPr>
          <p:cNvSpPr txBox="1"/>
          <p:nvPr/>
        </p:nvSpPr>
        <p:spPr>
          <a:xfrm>
            <a:off x="4496702" y="4961363"/>
            <a:ext cx="922367" cy="475421"/>
          </a:xfrm>
          <a:prstGeom prst="rect">
            <a:avLst/>
          </a:prstGeom>
        </p:spPr>
        <p:txBody>
          <a:bodyPr vert="horz" wrap="square" lIns="146283" tIns="91427" rIns="0" bIns="0" rtlCol="0" anchor="t">
            <a:noAutofit/>
          </a:bodyPr>
          <a:lstStyle/>
          <a:p>
            <a:r>
              <a:rPr lang="en-US" sz="2000"/>
              <a:t>Tablet</a:t>
            </a:r>
          </a:p>
        </p:txBody>
      </p:sp>
      <p:sp>
        <p:nvSpPr>
          <p:cNvPr id="13" name="TextBox 12">
            <a:extLst>
              <a:ext uri="{FF2B5EF4-FFF2-40B4-BE49-F238E27FC236}">
                <a16:creationId xmlns:a16="http://schemas.microsoft.com/office/drawing/2014/main" id="{F96F65E3-2373-4140-BF6C-A1D2F809CB2B}"/>
              </a:ext>
            </a:extLst>
          </p:cNvPr>
          <p:cNvSpPr txBox="1"/>
          <p:nvPr/>
        </p:nvSpPr>
        <p:spPr>
          <a:xfrm>
            <a:off x="1046688" y="4956527"/>
            <a:ext cx="1019443" cy="475421"/>
          </a:xfrm>
          <a:prstGeom prst="rect">
            <a:avLst/>
          </a:prstGeom>
        </p:spPr>
        <p:txBody>
          <a:bodyPr vert="horz" wrap="square" lIns="146283" tIns="91427" rIns="0" bIns="0" rtlCol="0" anchor="t">
            <a:noAutofit/>
          </a:bodyPr>
          <a:lstStyle/>
          <a:p>
            <a:r>
              <a:rPr lang="en-US" sz="2000"/>
              <a:t>Phone</a:t>
            </a:r>
          </a:p>
        </p:txBody>
      </p:sp>
      <p:pic>
        <p:nvPicPr>
          <p:cNvPr id="10" name="Picture 9">
            <a:extLst>
              <a:ext uri="{FF2B5EF4-FFF2-40B4-BE49-F238E27FC236}">
                <a16:creationId xmlns:a16="http://schemas.microsoft.com/office/drawing/2014/main" id="{C431870F-E289-4F36-85DC-73F777D6D08B}"/>
              </a:ext>
            </a:extLst>
          </p:cNvPr>
          <p:cNvPicPr>
            <a:picLocks noChangeAspect="1"/>
          </p:cNvPicPr>
          <p:nvPr/>
        </p:nvPicPr>
        <p:blipFill rotWithShape="1">
          <a:blip r:embed="rId4"/>
          <a:srcRect l="2626" t="4271" r="4376" b="5226"/>
          <a:stretch/>
        </p:blipFill>
        <p:spPr>
          <a:xfrm>
            <a:off x="2615710" y="2067733"/>
            <a:ext cx="4586211" cy="2801088"/>
          </a:xfrm>
          <a:prstGeom prst="rect">
            <a:avLst/>
          </a:prstGeom>
        </p:spPr>
      </p:pic>
      <p:pic>
        <p:nvPicPr>
          <p:cNvPr id="3" name="Picture 3" descr="Graphical user interface, text, application&#10;&#10;Description automatically generated">
            <a:extLst>
              <a:ext uri="{FF2B5EF4-FFF2-40B4-BE49-F238E27FC236}">
                <a16:creationId xmlns:a16="http://schemas.microsoft.com/office/drawing/2014/main" id="{4E8EF135-185D-4998-87D8-0458480C08B6}"/>
              </a:ext>
            </a:extLst>
          </p:cNvPr>
          <p:cNvPicPr>
            <a:picLocks noChangeAspect="1"/>
          </p:cNvPicPr>
          <p:nvPr/>
        </p:nvPicPr>
        <p:blipFill rotWithShape="1">
          <a:blip r:embed="rId5"/>
          <a:srcRect t="5229" b="-98"/>
          <a:stretch/>
        </p:blipFill>
        <p:spPr>
          <a:xfrm>
            <a:off x="8069832" y="1526756"/>
            <a:ext cx="3895331" cy="4784459"/>
          </a:xfrm>
          <a:prstGeom prst="rect">
            <a:avLst/>
          </a:prstGeom>
          <a:ln w="6350">
            <a:solidFill>
              <a:schemeClr val="tx1"/>
            </a:solidFill>
          </a:ln>
        </p:spPr>
      </p:pic>
    </p:spTree>
    <p:extLst>
      <p:ext uri="{BB962C8B-B14F-4D97-AF65-F5344CB8AC3E}">
        <p14:creationId xmlns:p14="http://schemas.microsoft.com/office/powerpoint/2010/main" val="9896632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072106-27D5-4D8A-A3B5-79345B353D09}"/>
              </a:ext>
            </a:extLst>
          </p:cNvPr>
          <p:cNvPicPr>
            <a:picLocks noChangeAspect="1"/>
          </p:cNvPicPr>
          <p:nvPr/>
        </p:nvPicPr>
        <p:blipFill>
          <a:blip r:embed="rId3"/>
          <a:stretch>
            <a:fillRect/>
          </a:stretch>
        </p:blipFill>
        <p:spPr>
          <a:xfrm>
            <a:off x="458039" y="1135762"/>
            <a:ext cx="11097514" cy="2704845"/>
          </a:xfrm>
          <a:prstGeom prst="rect">
            <a:avLst/>
          </a:prstGeom>
        </p:spPr>
      </p:pic>
      <p:sp>
        <p:nvSpPr>
          <p:cNvPr id="2" name="Title 1"/>
          <p:cNvSpPr>
            <a:spLocks noGrp="1"/>
          </p:cNvSpPr>
          <p:nvPr>
            <p:ph type="title"/>
          </p:nvPr>
        </p:nvSpPr>
        <p:spPr/>
        <p:txBody>
          <a:bodyPr/>
          <a:lstStyle/>
          <a:p>
            <a:r>
              <a:rPr lang="en-US">
                <a:solidFill>
                  <a:srgbClr val="0078D7"/>
                </a:solidFill>
                <a:cs typeface="Segoe UI"/>
              </a:rPr>
              <a:t>The formula bar</a:t>
            </a:r>
          </a:p>
        </p:txBody>
      </p:sp>
      <p:sp>
        <p:nvSpPr>
          <p:cNvPr id="6" name="TextBox 5"/>
          <p:cNvSpPr txBox="1"/>
          <p:nvPr/>
        </p:nvSpPr>
        <p:spPr>
          <a:xfrm>
            <a:off x="884237" y="4008954"/>
            <a:ext cx="5402150" cy="647165"/>
          </a:xfrm>
          <a:prstGeom prst="rect">
            <a:avLst/>
          </a:prstGeom>
          <a:noFill/>
        </p:spPr>
        <p:txBody>
          <a:bodyPr wrap="none" lIns="186521" tIns="149217" rIns="186521" bIns="149217" rtlCol="0">
            <a:spAutoFit/>
          </a:bodyPr>
          <a:lstStyle/>
          <a:p>
            <a:pPr>
              <a:lnSpc>
                <a:spcPct val="90000"/>
              </a:lnSpc>
              <a:spcAft>
                <a:spcPts val="612"/>
              </a:spcAft>
            </a:pPr>
            <a:r>
              <a:rPr lang="en-US" sz="2448">
                <a:gradFill>
                  <a:gsLst>
                    <a:gs pos="2917">
                      <a:schemeClr val="tx1"/>
                    </a:gs>
                    <a:gs pos="30000">
                      <a:schemeClr val="tx1"/>
                    </a:gs>
                  </a:gsLst>
                  <a:lin ang="5400000" scaled="0"/>
                </a:gradFill>
              </a:rPr>
              <a:t>Choose the control/screen property</a:t>
            </a:r>
          </a:p>
        </p:txBody>
      </p:sp>
      <p:sp>
        <p:nvSpPr>
          <p:cNvPr id="7" name="TextBox 6"/>
          <p:cNvSpPr txBox="1"/>
          <p:nvPr/>
        </p:nvSpPr>
        <p:spPr>
          <a:xfrm>
            <a:off x="7643479" y="4105678"/>
            <a:ext cx="3703736" cy="647165"/>
          </a:xfrm>
          <a:prstGeom prst="rect">
            <a:avLst/>
          </a:prstGeom>
          <a:noFill/>
        </p:spPr>
        <p:txBody>
          <a:bodyPr wrap="none" lIns="186521" tIns="149217" rIns="186521" bIns="149217" rtlCol="0">
            <a:spAutoFit/>
          </a:bodyPr>
          <a:lstStyle/>
          <a:p>
            <a:pPr>
              <a:lnSpc>
                <a:spcPct val="90000"/>
              </a:lnSpc>
              <a:spcAft>
                <a:spcPts val="612"/>
              </a:spcAft>
            </a:pPr>
            <a:r>
              <a:rPr lang="en-US" sz="2448">
                <a:gradFill>
                  <a:gsLst>
                    <a:gs pos="2917">
                      <a:schemeClr val="tx1"/>
                    </a:gs>
                    <a:gs pos="30000">
                      <a:schemeClr val="tx1"/>
                    </a:gs>
                  </a:gsLst>
                  <a:lin ang="5400000" scaled="0"/>
                </a:gradFill>
              </a:rPr>
              <a:t>Control it with formulas</a:t>
            </a:r>
          </a:p>
        </p:txBody>
      </p:sp>
      <p:cxnSp>
        <p:nvCxnSpPr>
          <p:cNvPr id="8" name="Straight Arrow Connector 7"/>
          <p:cNvCxnSpPr>
            <a:cxnSpLocks/>
          </p:cNvCxnSpPr>
          <p:nvPr/>
        </p:nvCxnSpPr>
        <p:spPr>
          <a:xfrm flipH="1" flipV="1">
            <a:off x="2332037" y="2887662"/>
            <a:ext cx="1587844" cy="1283120"/>
          </a:xfrm>
          <a:prstGeom prst="straightConnector1">
            <a:avLst/>
          </a:prstGeom>
          <a:ln w="38100">
            <a:headEnd type="none"/>
            <a:tailEnd type="triangle"/>
          </a:ln>
        </p:spPr>
        <p:style>
          <a:lnRef idx="2">
            <a:schemeClr val="accent2"/>
          </a:lnRef>
          <a:fillRef idx="0">
            <a:schemeClr val="accent2"/>
          </a:fillRef>
          <a:effectRef idx="1">
            <a:schemeClr val="accent2"/>
          </a:effectRef>
          <a:fontRef idx="minor">
            <a:schemeClr val="tx1"/>
          </a:fontRef>
        </p:style>
      </p:cxnSp>
      <p:cxnSp>
        <p:nvCxnSpPr>
          <p:cNvPr id="13" name="Straight Arrow Connector 12">
            <a:extLst>
              <a:ext uri="{FF2B5EF4-FFF2-40B4-BE49-F238E27FC236}">
                <a16:creationId xmlns:a16="http://schemas.microsoft.com/office/drawing/2014/main" id="{785B7B2A-C578-4F0C-99CA-E7C176A74FC3}"/>
              </a:ext>
            </a:extLst>
          </p:cNvPr>
          <p:cNvCxnSpPr>
            <a:cxnSpLocks/>
          </p:cNvCxnSpPr>
          <p:nvPr/>
        </p:nvCxnSpPr>
        <p:spPr>
          <a:xfrm flipH="1" flipV="1">
            <a:off x="7602816" y="2855702"/>
            <a:ext cx="1587844" cy="1283120"/>
          </a:xfrm>
          <a:prstGeom prst="straightConnector1">
            <a:avLst/>
          </a:prstGeom>
          <a:ln w="38100">
            <a:headEnd type="non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3147002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2C15F-95E3-481D-A0CF-AE6555E28DA2}"/>
              </a:ext>
            </a:extLst>
          </p:cNvPr>
          <p:cNvSpPr>
            <a:spLocks noGrp="1"/>
          </p:cNvSpPr>
          <p:nvPr>
            <p:ph type="title"/>
          </p:nvPr>
        </p:nvSpPr>
        <p:spPr/>
        <p:txBody>
          <a:bodyPr/>
          <a:lstStyle/>
          <a:p>
            <a:r>
              <a:rPr lang="en-US">
                <a:solidFill>
                  <a:srgbClr val="0078D7"/>
                </a:solidFill>
                <a:cs typeface="Segoe UI"/>
              </a:rPr>
              <a:t>SharePoint List as data repository </a:t>
            </a:r>
            <a:endParaRPr lang="en-US"/>
          </a:p>
        </p:txBody>
      </p:sp>
      <p:sp>
        <p:nvSpPr>
          <p:cNvPr id="5" name="Text Placeholder 4">
            <a:extLst>
              <a:ext uri="{FF2B5EF4-FFF2-40B4-BE49-F238E27FC236}">
                <a16:creationId xmlns:a16="http://schemas.microsoft.com/office/drawing/2014/main" id="{85009BE3-B1BD-4BF5-A2F8-829617D42196}"/>
              </a:ext>
            </a:extLst>
          </p:cNvPr>
          <p:cNvSpPr>
            <a:spLocks noGrp="1"/>
          </p:cNvSpPr>
          <p:nvPr>
            <p:ph type="body" sz="quarter" idx="10"/>
          </p:nvPr>
        </p:nvSpPr>
        <p:spPr>
          <a:xfrm>
            <a:off x="493077" y="1212849"/>
            <a:ext cx="5050647" cy="1423467"/>
          </a:xfrm>
        </p:spPr>
        <p:txBody>
          <a:bodyPr vert="horz" wrap="square" lIns="146304" tIns="91440" rIns="146304" bIns="91440" rtlCol="0" anchor="t">
            <a:spAutoFit/>
          </a:bodyPr>
          <a:lstStyle/>
          <a:p>
            <a:pPr marL="0" indent="0">
              <a:lnSpc>
                <a:spcPct val="120000"/>
              </a:lnSpc>
              <a:spcBef>
                <a:spcPts val="0"/>
              </a:spcBef>
              <a:spcAft>
                <a:spcPts val="300"/>
              </a:spcAft>
              <a:buNone/>
            </a:pPr>
            <a:endParaRPr lang="en-US" sz="3200">
              <a:cs typeface="Segoe UI Light"/>
            </a:endParaRPr>
          </a:p>
          <a:p>
            <a:endParaRPr lang="en-US"/>
          </a:p>
        </p:txBody>
      </p:sp>
      <p:graphicFrame>
        <p:nvGraphicFramePr>
          <p:cNvPr id="9" name="Diagram 9">
            <a:extLst>
              <a:ext uri="{FF2B5EF4-FFF2-40B4-BE49-F238E27FC236}">
                <a16:creationId xmlns:a16="http://schemas.microsoft.com/office/drawing/2014/main" id="{4CFFCDF6-8604-417C-AC47-50BE92CF91DA}"/>
              </a:ext>
            </a:extLst>
          </p:cNvPr>
          <p:cNvGraphicFramePr/>
          <p:nvPr>
            <p:extLst>
              <p:ext uri="{D42A27DB-BD31-4B8C-83A1-F6EECF244321}">
                <p14:modId xmlns:p14="http://schemas.microsoft.com/office/powerpoint/2010/main" val="1778693977"/>
              </p:ext>
            </p:extLst>
          </p:nvPr>
        </p:nvGraphicFramePr>
        <p:xfrm>
          <a:off x="572129" y="1209315"/>
          <a:ext cx="11292408" cy="55054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247099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10A43045-C566-45CB-B535-5351D160656F}"/>
              </a:ext>
            </a:extLst>
          </p:cNvPr>
          <p:cNvSpPr txBox="1">
            <a:spLocks/>
          </p:cNvSpPr>
          <p:nvPr/>
        </p:nvSpPr>
        <p:spPr>
          <a:xfrm>
            <a:off x="1646237" y="403804"/>
            <a:ext cx="3733801" cy="2179058"/>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4800" b="0" kern="1200" cap="none" spc="-102" baseline="0">
                <a:ln w="3175">
                  <a:noFill/>
                </a:ln>
                <a:solidFill>
                  <a:schemeClr val="accent3"/>
                </a:solidFill>
                <a:effectLst/>
                <a:latin typeface="+mj-lt"/>
                <a:ea typeface="+mn-ea"/>
                <a:cs typeface="Segoe UI" pitchFamily="34" charset="0"/>
              </a:defRPr>
            </a:lvl1pPr>
          </a:lstStyle>
          <a:p>
            <a:r>
              <a:rPr lang="en-US" dirty="0"/>
              <a:t>Build a canvas app from blank</a:t>
            </a:r>
          </a:p>
        </p:txBody>
      </p:sp>
      <p:sp>
        <p:nvSpPr>
          <p:cNvPr id="10" name="Text Placeholder 4">
            <a:extLst>
              <a:ext uri="{FF2B5EF4-FFF2-40B4-BE49-F238E27FC236}">
                <a16:creationId xmlns:a16="http://schemas.microsoft.com/office/drawing/2014/main" id="{57D0DEBB-4EAB-411C-BF3B-19B442A31C0D}"/>
              </a:ext>
            </a:extLst>
          </p:cNvPr>
          <p:cNvSpPr txBox="1">
            <a:spLocks/>
          </p:cNvSpPr>
          <p:nvPr>
            <p:custDataLst>
              <p:tags r:id="rId1"/>
            </p:custDataLst>
          </p:nvPr>
        </p:nvSpPr>
        <p:spPr>
          <a:xfrm>
            <a:off x="457200" y="2628846"/>
            <a:ext cx="5486401" cy="326243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100000"/>
              </a:lnSpc>
              <a:spcBef>
                <a:spcPts val="0"/>
              </a:spcBef>
              <a:spcAft>
                <a:spcPts val="0"/>
              </a:spcAft>
              <a:buClrTx/>
              <a:buSzPct val="90000"/>
              <a:buFont typeface="Arial" pitchFamily="34" charset="0"/>
              <a:buChar char="•"/>
              <a:tabLst/>
              <a:defRPr lang="en-US" sz="3600" b="1" i="0" kern="1200" spc="0" baseline="0" dirty="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pPr>
            <a:r>
              <a:rPr lang="en-US" sz="2000" dirty="0">
                <a:latin typeface="+mn-lt"/>
              </a:rPr>
              <a:t>Objectives</a:t>
            </a:r>
          </a:p>
          <a:p>
            <a:pPr>
              <a:buNone/>
            </a:pPr>
            <a:r>
              <a:rPr lang="en-US" sz="2000" b="0" dirty="0">
                <a:latin typeface="+mn-lt"/>
              </a:rPr>
              <a:t>In this lab, you will be able to: </a:t>
            </a:r>
          </a:p>
          <a:p>
            <a:r>
              <a:rPr lang="en-US" sz="2000" b="0" dirty="0">
                <a:latin typeface="+mn-lt"/>
              </a:rPr>
              <a:t>Create Power App canvas app from blank</a:t>
            </a:r>
          </a:p>
          <a:p>
            <a:pPr>
              <a:buNone/>
            </a:pPr>
            <a:r>
              <a:rPr lang="en-US" sz="2000" b="0" dirty="0">
                <a:latin typeface="+mn-lt"/>
              </a:rPr>
              <a:t>•	</a:t>
            </a:r>
            <a:r>
              <a:rPr lang="en-US" sz="2000" b="0">
                <a:latin typeface="+mn-lt"/>
              </a:rPr>
              <a:t>Create SharePoint lists</a:t>
            </a:r>
            <a:endParaRPr lang="en-US" sz="2000" b="0" dirty="0">
              <a:latin typeface="+mn-lt"/>
            </a:endParaRPr>
          </a:p>
          <a:p>
            <a:pPr marL="0" indent="0">
              <a:buFont typeface="Arial" pitchFamily="34" charset="0"/>
              <a:buNone/>
            </a:pPr>
            <a:endParaRPr lang="en-US" sz="2000" b="0" dirty="0">
              <a:latin typeface="+mn-lt"/>
            </a:endParaRPr>
          </a:p>
          <a:p>
            <a:pPr marL="0" indent="0">
              <a:buFont typeface="Arial" pitchFamily="34" charset="0"/>
              <a:buNone/>
            </a:pPr>
            <a:r>
              <a:rPr lang="en-US" sz="2000" dirty="0">
                <a:latin typeface="+mn-lt"/>
              </a:rPr>
              <a:t>Scenario</a:t>
            </a:r>
          </a:p>
          <a:p>
            <a:pPr marL="0" indent="0">
              <a:buFont typeface="Arial" pitchFamily="34" charset="0"/>
              <a:buNone/>
            </a:pPr>
            <a:r>
              <a:rPr lang="en-US" sz="2000" b="0" dirty="0">
                <a:latin typeface="+mn-lt"/>
              </a:rPr>
              <a:t>The organization needs to replace legacy apps and has decided to onboard Power Apps as a platform. We will be learning how to create those apps as Citizen Developers.</a:t>
            </a:r>
          </a:p>
        </p:txBody>
      </p:sp>
    </p:spTree>
    <p:extLst>
      <p:ext uri="{BB962C8B-B14F-4D97-AF65-F5344CB8AC3E}">
        <p14:creationId xmlns:p14="http://schemas.microsoft.com/office/powerpoint/2010/main" val="13231311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495553" y="1364536"/>
            <a:ext cx="6901752" cy="4265449"/>
          </a:xfrm>
        </p:spPr>
        <p:txBody>
          <a:bodyPr vert="horz" lIns="91440" tIns="45720" rIns="91440" bIns="45720" rtlCol="0" anchor="ctr">
            <a:normAutofit/>
          </a:bodyPr>
          <a:lstStyle/>
          <a:p>
            <a:pPr defTabSz="914400"/>
            <a:r>
              <a:rPr lang="en-US" sz="5500" kern="1200">
                <a:solidFill>
                  <a:schemeClr val="tx1">
                    <a:lumMod val="85000"/>
                    <a:lumOff val="15000"/>
                  </a:schemeClr>
                </a:solidFill>
                <a:latin typeface="+mj-lt"/>
                <a:ea typeface="+mj-ea"/>
                <a:cs typeface="+mj-cs"/>
              </a:rPr>
              <a:t>Power Apps</a:t>
            </a:r>
            <a:br>
              <a:rPr lang="en-US" sz="5500" kern="1200">
                <a:solidFill>
                  <a:schemeClr val="tx1">
                    <a:lumMod val="85000"/>
                    <a:lumOff val="15000"/>
                  </a:schemeClr>
                </a:solidFill>
                <a:latin typeface="+mj-lt"/>
                <a:ea typeface="+mj-ea"/>
                <a:cs typeface="+mj-cs"/>
              </a:rPr>
            </a:br>
            <a:r>
              <a:rPr lang="en-US" sz="5500" kern="1200">
                <a:solidFill>
                  <a:schemeClr val="tx1">
                    <a:lumMod val="85000"/>
                    <a:lumOff val="15000"/>
                  </a:schemeClr>
                </a:solidFill>
                <a:latin typeface="+mj-lt"/>
                <a:ea typeface="+mj-ea"/>
                <a:cs typeface="+mj-cs"/>
              </a:rPr>
              <a:t>Overview</a:t>
            </a:r>
            <a:br>
              <a:rPr lang="en-US" sz="5500" kern="1200">
                <a:solidFill>
                  <a:schemeClr val="tx1">
                    <a:lumMod val="85000"/>
                    <a:lumOff val="15000"/>
                  </a:schemeClr>
                </a:solidFill>
                <a:latin typeface="+mj-lt"/>
                <a:ea typeface="+mj-ea"/>
                <a:cs typeface="+mj-cs"/>
              </a:rPr>
            </a:br>
            <a:endParaRPr lang="en-US" sz="5500" kern="120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985486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1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113561" y="2506800"/>
            <a:ext cx="2792890" cy="4052241"/>
            <a:chOff x="1079815" y="2506662"/>
            <a:chExt cx="2793286" cy="4052816"/>
          </a:xfrm>
        </p:grpSpPr>
        <p:sp>
          <p:nvSpPr>
            <p:cNvPr id="3" name="TextBox 2"/>
            <p:cNvSpPr txBox="1"/>
            <p:nvPr/>
          </p:nvSpPr>
          <p:spPr>
            <a:xfrm>
              <a:off x="1079815" y="5021263"/>
              <a:ext cx="2793286" cy="1538215"/>
            </a:xfrm>
            <a:prstGeom prst="rect">
              <a:avLst/>
            </a:prstGeom>
            <a:noFill/>
          </p:spPr>
          <p:txBody>
            <a:bodyPr wrap="square" rtlCol="0">
              <a:spAutoFit/>
            </a:bodyPr>
            <a:lstStyle/>
            <a:p>
              <a:pPr algn="ctr" defTabSz="932563">
                <a:defRPr/>
              </a:pPr>
              <a:r>
                <a:rPr lang="en-US" sz="2000" b="1">
                  <a:solidFill>
                    <a:prstClr val="black">
                      <a:lumMod val="85000"/>
                      <a:lumOff val="15000"/>
                    </a:prstClr>
                  </a:solidFill>
                  <a:latin typeface="Segoe UI Light" panose="020B0502040204020203" pitchFamily="34" charset="0"/>
                  <a:cs typeface="Segoe UI Light" panose="020B0502040204020203" pitchFamily="34" charset="0"/>
                </a:rPr>
                <a:t>Connect </a:t>
              </a:r>
              <a:r>
                <a:rPr lang="en-US" sz="2000">
                  <a:solidFill>
                    <a:prstClr val="black">
                      <a:lumMod val="85000"/>
                      <a:lumOff val="15000"/>
                    </a:prstClr>
                  </a:solidFill>
                  <a:latin typeface="Segoe UI Light" panose="020B0502040204020203" pitchFamily="34" charset="0"/>
                  <a:cs typeface="Segoe UI Light" panose="020B0502040204020203" pitchFamily="34" charset="0"/>
                </a:rPr>
                <a:t>to data &amp; systems you’re already using; Create the data you need.</a:t>
              </a:r>
              <a:br>
                <a:rPr lang="en-US">
                  <a:solidFill>
                    <a:prstClr val="black">
                      <a:lumMod val="85000"/>
                      <a:lumOff val="15000"/>
                    </a:prstClr>
                  </a:solidFill>
                  <a:latin typeface="Segoe UI Light" panose="020B0502040204020203" pitchFamily="34" charset="0"/>
                  <a:cs typeface="Segoe UI Light" panose="020B0502040204020203" pitchFamily="34" charset="0"/>
                </a:rPr>
              </a:br>
              <a:endParaRPr lang="en-US" sz="1199">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rotWithShape="1">
            <a:blip r:embed="rId3">
              <a:clrChange>
                <a:clrFrom>
                  <a:srgbClr val="FFFFFF"/>
                </a:clrFrom>
                <a:clrTo>
                  <a:srgbClr val="FFFFFF">
                    <a:alpha val="0"/>
                  </a:srgbClr>
                </a:clrTo>
              </a:clrChange>
            </a:blip>
            <a:srcRect l="4083" r="70973" b="30713"/>
            <a:stretch/>
          </p:blipFill>
          <p:spPr>
            <a:xfrm>
              <a:off x="1079815" y="2506662"/>
              <a:ext cx="2793286" cy="2512441"/>
            </a:xfrm>
            <a:prstGeom prst="rect">
              <a:avLst/>
            </a:prstGeom>
          </p:spPr>
        </p:pic>
      </p:grpSp>
      <p:grpSp>
        <p:nvGrpSpPr>
          <p:cNvPr id="14" name="Group 13"/>
          <p:cNvGrpSpPr/>
          <p:nvPr/>
        </p:nvGrpSpPr>
        <p:grpSpPr>
          <a:xfrm>
            <a:off x="4679734" y="2506801"/>
            <a:ext cx="2833720" cy="3832641"/>
            <a:chOff x="4679515" y="2506661"/>
            <a:chExt cx="2834122" cy="3833185"/>
          </a:xfrm>
        </p:grpSpPr>
        <p:sp>
          <p:nvSpPr>
            <p:cNvPr id="5" name="TextBox 4"/>
            <p:cNvSpPr txBox="1"/>
            <p:nvPr/>
          </p:nvSpPr>
          <p:spPr>
            <a:xfrm>
              <a:off x="4679515" y="5021263"/>
              <a:ext cx="2834122" cy="1318583"/>
            </a:xfrm>
            <a:prstGeom prst="rect">
              <a:avLst/>
            </a:prstGeom>
            <a:noFill/>
          </p:spPr>
          <p:txBody>
            <a:bodyPr wrap="square" rtlCol="0">
              <a:spAutoFit/>
            </a:bodyPr>
            <a:lstStyle/>
            <a:p>
              <a:pPr algn="ctr" defTabSz="932563">
                <a:defRPr/>
              </a:pPr>
              <a:r>
                <a:rPr lang="en-US" sz="2000" b="1">
                  <a:solidFill>
                    <a:prstClr val="black">
                      <a:lumMod val="85000"/>
                      <a:lumOff val="15000"/>
                    </a:prstClr>
                  </a:solidFill>
                  <a:latin typeface="Segoe UI Light" panose="020B0502040204020203" pitchFamily="34" charset="0"/>
                  <a:cs typeface="Segoe UI Light" panose="020B0502040204020203" pitchFamily="34" charset="0"/>
                </a:rPr>
                <a:t>Create </a:t>
              </a:r>
              <a:r>
                <a:rPr lang="en-US" sz="2000">
                  <a:solidFill>
                    <a:prstClr val="black">
                      <a:lumMod val="85000"/>
                      <a:lumOff val="15000"/>
                    </a:prstClr>
                  </a:solidFill>
                  <a:latin typeface="Segoe UI Light" panose="020B0502040204020203" pitchFamily="34" charset="0"/>
                  <a:cs typeface="Segoe UI Light" panose="020B0502040204020203" pitchFamily="34" charset="0"/>
                </a:rPr>
                <a:t>apps, forms, and workflows without writing code.</a:t>
              </a:r>
              <a:br>
                <a:rPr lang="en-US">
                  <a:solidFill>
                    <a:prstClr val="black">
                      <a:lumMod val="85000"/>
                      <a:lumOff val="15000"/>
                    </a:prstClr>
                  </a:solidFill>
                  <a:latin typeface="Segoe UI Light" panose="020B0502040204020203" pitchFamily="34" charset="0"/>
                  <a:cs typeface="Segoe UI Light" panose="020B0502040204020203" pitchFamily="34" charset="0"/>
                </a:rPr>
              </a:br>
              <a:endParaRPr lang="en-US">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rotWithShape="1">
            <a:blip r:embed="rId3">
              <a:clrChange>
                <a:clrFrom>
                  <a:srgbClr val="FFFFFF"/>
                </a:clrFrom>
                <a:clrTo>
                  <a:srgbClr val="FFFFFF">
                    <a:alpha val="0"/>
                  </a:srgbClr>
                </a:clrTo>
              </a:clrChange>
            </a:blip>
            <a:srcRect l="36624" r="38432" b="30713"/>
            <a:stretch/>
          </p:blipFill>
          <p:spPr>
            <a:xfrm>
              <a:off x="4720351" y="2506661"/>
              <a:ext cx="2793286" cy="2512441"/>
            </a:xfrm>
            <a:prstGeom prst="rect">
              <a:avLst/>
            </a:prstGeom>
          </p:spPr>
        </p:pic>
      </p:grpSp>
      <p:grpSp>
        <p:nvGrpSpPr>
          <p:cNvPr id="16" name="Group 15"/>
          <p:cNvGrpSpPr/>
          <p:nvPr/>
        </p:nvGrpSpPr>
        <p:grpSpPr>
          <a:xfrm>
            <a:off x="8319753" y="2506802"/>
            <a:ext cx="2792890" cy="3518737"/>
            <a:chOff x="8320051" y="2506660"/>
            <a:chExt cx="2793286" cy="3519236"/>
          </a:xfrm>
        </p:grpSpPr>
        <p:sp>
          <p:nvSpPr>
            <p:cNvPr id="6" name="TextBox 5"/>
            <p:cNvSpPr txBox="1"/>
            <p:nvPr/>
          </p:nvSpPr>
          <p:spPr>
            <a:xfrm>
              <a:off x="8566951" y="5021262"/>
              <a:ext cx="2299486" cy="1004634"/>
            </a:xfrm>
            <a:prstGeom prst="rect">
              <a:avLst/>
            </a:prstGeom>
            <a:noFill/>
          </p:spPr>
          <p:txBody>
            <a:bodyPr wrap="square" rtlCol="0">
              <a:spAutoFit/>
            </a:bodyPr>
            <a:lstStyle/>
            <a:p>
              <a:pPr algn="ctr" defTabSz="932563">
                <a:defRPr/>
              </a:pPr>
              <a:r>
                <a:rPr lang="en-US" sz="2000" b="1">
                  <a:solidFill>
                    <a:prstClr val="black">
                      <a:lumMod val="85000"/>
                      <a:lumOff val="15000"/>
                    </a:prstClr>
                  </a:solidFill>
                  <a:latin typeface="Segoe UI Light" panose="020B0502040204020203" pitchFamily="34" charset="0"/>
                  <a:cs typeface="Segoe UI Light" panose="020B0502040204020203" pitchFamily="34" charset="0"/>
                </a:rPr>
                <a:t>Use </a:t>
              </a:r>
              <a:r>
                <a:rPr lang="en-US" sz="2000">
                  <a:solidFill>
                    <a:prstClr val="black">
                      <a:lumMod val="85000"/>
                      <a:lumOff val="15000"/>
                    </a:prstClr>
                  </a:solidFill>
                  <a:latin typeface="Segoe UI Light" panose="020B0502040204020203" pitchFamily="34" charset="0"/>
                  <a:cs typeface="Segoe UI Light" panose="020B0502040204020203" pitchFamily="34" charset="0"/>
                </a:rPr>
                <a:t>apps on web and mobile.</a:t>
              </a:r>
              <a:br>
                <a:rPr lang="en-US">
                  <a:solidFill>
                    <a:prstClr val="black">
                      <a:lumMod val="85000"/>
                      <a:lumOff val="15000"/>
                    </a:prstClr>
                  </a:solidFill>
                  <a:latin typeface="Segoe UI Light" panose="020B0502040204020203" pitchFamily="34" charset="0"/>
                  <a:cs typeface="Segoe UI Light" panose="020B0502040204020203" pitchFamily="34" charset="0"/>
                </a:rPr>
              </a:br>
              <a:endParaRPr lang="en-US">
                <a:solidFill>
                  <a:prstClr val="black">
                    <a:lumMod val="85000"/>
                    <a:lumOff val="15000"/>
                  </a:prstClr>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3">
              <a:clrChange>
                <a:clrFrom>
                  <a:srgbClr val="FFFFFF"/>
                </a:clrFrom>
                <a:clrTo>
                  <a:srgbClr val="FFFFFF">
                    <a:alpha val="0"/>
                  </a:srgbClr>
                </a:clrTo>
              </a:clrChange>
            </a:blip>
            <a:srcRect l="68769" r="6287" b="30713"/>
            <a:stretch/>
          </p:blipFill>
          <p:spPr>
            <a:xfrm>
              <a:off x="8320051" y="2506660"/>
              <a:ext cx="2793286" cy="2512441"/>
            </a:xfrm>
            <a:prstGeom prst="rect">
              <a:avLst/>
            </a:prstGeom>
          </p:spPr>
        </p:pic>
      </p:grpSp>
      <p:sp>
        <p:nvSpPr>
          <p:cNvPr id="17" name="TextBox 16">
            <a:extLst>
              <a:ext uri="{FF2B5EF4-FFF2-40B4-BE49-F238E27FC236}">
                <a16:creationId xmlns:a16="http://schemas.microsoft.com/office/drawing/2014/main" id="{977E58EE-870A-41BD-84B1-6CB592992463}"/>
              </a:ext>
            </a:extLst>
          </p:cNvPr>
          <p:cNvSpPr txBox="1"/>
          <p:nvPr/>
        </p:nvSpPr>
        <p:spPr>
          <a:xfrm>
            <a:off x="808804" y="906830"/>
            <a:ext cx="11143778" cy="1200329"/>
          </a:xfrm>
          <a:prstGeom prst="rect">
            <a:avLst/>
          </a:prstGeom>
          <a:noFill/>
        </p:spPr>
        <p:txBody>
          <a:bodyPr wrap="square" rtlCol="0">
            <a:spAutoFit/>
          </a:bodyPr>
          <a:lstStyle/>
          <a:p>
            <a:pPr algn="ctr" defTabSz="932239">
              <a:defRPr/>
            </a:pPr>
            <a:r>
              <a:rPr lang="en-US" sz="3600">
                <a:solidFill>
                  <a:srgbClr val="505050"/>
                </a:solidFill>
                <a:latin typeface="+mj-lt"/>
                <a:cs typeface="Segoe UI Semilight" panose="020B0402040204020203" pitchFamily="34" charset="0"/>
              </a:rPr>
              <a:t>Microsoft </a:t>
            </a:r>
            <a:r>
              <a:rPr lang="en-US" sz="3600" b="1">
                <a:solidFill>
                  <a:srgbClr val="505050"/>
                </a:solidFill>
                <a:latin typeface="+mj-lt"/>
                <a:cs typeface="Segoe UI Semilight" panose="020B0402040204020203" pitchFamily="34" charset="0"/>
              </a:rPr>
              <a:t>Power Apps</a:t>
            </a:r>
            <a:r>
              <a:rPr lang="en-US" sz="3600">
                <a:solidFill>
                  <a:srgbClr val="505050"/>
                </a:solidFill>
                <a:latin typeface="+mj-lt"/>
                <a:cs typeface="Segoe UI Semilight" panose="020B0402040204020203" pitchFamily="34" charset="0"/>
              </a:rPr>
              <a:t> helps </a:t>
            </a:r>
            <a:r>
              <a:rPr lang="en-US" sz="3600">
                <a:solidFill>
                  <a:prstClr val="black"/>
                </a:solidFill>
                <a:latin typeface="+mj-lt"/>
                <a:cs typeface="Segoe UI Semilight" panose="020B0402040204020203" pitchFamily="34" charset="0"/>
              </a:rPr>
              <a:t>business power-users</a:t>
            </a:r>
            <a:r>
              <a:rPr lang="en-US" sz="3600">
                <a:solidFill>
                  <a:srgbClr val="00BCF2"/>
                </a:solidFill>
                <a:latin typeface="+mj-lt"/>
                <a:cs typeface="Segoe UI Semilight" panose="020B0402040204020203" pitchFamily="34" charset="0"/>
              </a:rPr>
              <a:t> </a:t>
            </a:r>
            <a:r>
              <a:rPr lang="en-US" sz="3600">
                <a:solidFill>
                  <a:srgbClr val="505050"/>
                </a:solidFill>
                <a:latin typeface="+mj-lt"/>
                <a:cs typeface="Segoe UI Semilight" panose="020B0402040204020203" pitchFamily="34" charset="0"/>
              </a:rPr>
              <a:t>to create and use custom business apps across platforms.</a:t>
            </a:r>
          </a:p>
        </p:txBody>
      </p:sp>
    </p:spTree>
    <p:extLst>
      <p:ext uri="{BB962C8B-B14F-4D97-AF65-F5344CB8AC3E}">
        <p14:creationId xmlns:p14="http://schemas.microsoft.com/office/powerpoint/2010/main" val="270749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14643" t="21675" r="12959" b="22764"/>
          <a:stretch/>
        </p:blipFill>
        <p:spPr>
          <a:xfrm>
            <a:off x="3627805" y="681869"/>
            <a:ext cx="4799918" cy="5692926"/>
          </a:xfrm>
          <a:prstGeom prst="rect">
            <a:avLst/>
          </a:prstGeom>
        </p:spPr>
      </p:pic>
      <p:grpSp>
        <p:nvGrpSpPr>
          <p:cNvPr id="5" name="Group 4"/>
          <p:cNvGrpSpPr/>
          <p:nvPr/>
        </p:nvGrpSpPr>
        <p:grpSpPr>
          <a:xfrm>
            <a:off x="814713" y="4335462"/>
            <a:ext cx="2487228" cy="1938992"/>
            <a:chOff x="470973" y="2236257"/>
            <a:chExt cx="2487581" cy="1939268"/>
          </a:xfrm>
        </p:grpSpPr>
        <p:sp>
          <p:nvSpPr>
            <p:cNvPr id="6" name="Rectangle 5"/>
            <p:cNvSpPr/>
            <p:nvPr/>
          </p:nvSpPr>
          <p:spPr>
            <a:xfrm>
              <a:off x="470973" y="2236257"/>
              <a:ext cx="2487581" cy="1939268"/>
            </a:xfrm>
            <a:prstGeom prst="rect">
              <a:avLst/>
            </a:prstGeom>
          </p:spPr>
          <p:txBody>
            <a:bodyPr wrap="square">
              <a:spAutoFit/>
            </a:bodyPr>
            <a:lstStyle/>
            <a:p>
              <a:pPr algn="r"/>
              <a:r>
                <a:rPr lang="en-US" sz="2000" b="1">
                  <a:solidFill>
                    <a:schemeClr val="tx1">
                      <a:lumMod val="85000"/>
                      <a:lumOff val="15000"/>
                    </a:schemeClr>
                  </a:solidFill>
                  <a:latin typeface="Segoe UI Light" panose="020B0502040204020203" pitchFamily="34" charset="0"/>
                  <a:cs typeface="Segoe UI Light" panose="020B0502040204020203" pitchFamily="34" charset="0"/>
                </a:rPr>
                <a:t>Connections</a:t>
              </a:r>
              <a:br>
                <a:rPr lang="en-US" sz="2000">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Build apps that interact with your data sources and respect their permissions.</a:t>
              </a:r>
            </a:p>
          </p:txBody>
        </p:sp>
        <p:sp>
          <p:nvSpPr>
            <p:cNvPr id="7" name="Line Callout 2 (Accent Bar) 6"/>
            <p:cNvSpPr/>
            <p:nvPr/>
          </p:nvSpPr>
          <p:spPr>
            <a:xfrm flipH="1">
              <a:off x="2874585" y="2346956"/>
              <a:ext cx="83967" cy="924818"/>
            </a:xfrm>
            <a:prstGeom prst="accentCallout2">
              <a:avLst>
                <a:gd name="adj1" fmla="val 18750"/>
                <a:gd name="adj2" fmla="val -8333"/>
                <a:gd name="adj3" fmla="val 18946"/>
                <a:gd name="adj4" fmla="val -327024"/>
                <a:gd name="adj5" fmla="val 61797"/>
                <a:gd name="adj6" fmla="val -783623"/>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p:cNvGrpSpPr/>
          <p:nvPr/>
        </p:nvGrpSpPr>
        <p:grpSpPr>
          <a:xfrm flipH="1">
            <a:off x="8961048" y="4868862"/>
            <a:ext cx="2971379" cy="1631216"/>
            <a:chOff x="-51373" y="2278062"/>
            <a:chExt cx="3009927" cy="1631448"/>
          </a:xfrm>
        </p:grpSpPr>
        <p:sp>
          <p:nvSpPr>
            <p:cNvPr id="17" name="Rectangle 16"/>
            <p:cNvSpPr/>
            <p:nvPr/>
          </p:nvSpPr>
          <p:spPr>
            <a:xfrm>
              <a:off x="-51373" y="2278062"/>
              <a:ext cx="3009927" cy="1631448"/>
            </a:xfrm>
            <a:prstGeom prst="rect">
              <a:avLst/>
            </a:prstGeom>
          </p:spPr>
          <p:txBody>
            <a:bodyPr wrap="square">
              <a:spAutoFit/>
            </a:bodyPr>
            <a:lstStyle/>
            <a:p>
              <a:r>
                <a:rPr lang="en-US" sz="2000" b="1">
                  <a:solidFill>
                    <a:schemeClr val="tx1">
                      <a:lumMod val="85000"/>
                      <a:lumOff val="15000"/>
                    </a:schemeClr>
                  </a:solidFill>
                  <a:latin typeface="Segoe UI Light" panose="020B0502040204020203" pitchFamily="34" charset="0"/>
                  <a:cs typeface="Segoe UI Light" panose="020B0502040204020203" pitchFamily="34" charset="0"/>
                </a:rPr>
                <a:t>Your data</a:t>
              </a:r>
              <a:br>
                <a:rPr lang="en-US" sz="2000">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Power Apps connects to a range of data sources and systems, including custom APIs.</a:t>
              </a:r>
            </a:p>
          </p:txBody>
        </p:sp>
        <p:sp>
          <p:nvSpPr>
            <p:cNvPr id="18" name="Line Callout 2 (Accent Bar) 17"/>
            <p:cNvSpPr/>
            <p:nvPr/>
          </p:nvSpPr>
          <p:spPr>
            <a:xfrm flipH="1">
              <a:off x="2798214" y="2388656"/>
              <a:ext cx="160340" cy="880005"/>
            </a:xfrm>
            <a:prstGeom prst="accentCallout2">
              <a:avLst>
                <a:gd name="adj1" fmla="val 20972"/>
                <a:gd name="adj2" fmla="val 1880"/>
                <a:gd name="adj3" fmla="val 20824"/>
                <a:gd name="adj4" fmla="val -224795"/>
                <a:gd name="adj5" fmla="val 60865"/>
                <a:gd name="adj6" fmla="val -372596"/>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p:cNvGrpSpPr/>
          <p:nvPr/>
        </p:nvGrpSpPr>
        <p:grpSpPr>
          <a:xfrm flipH="1">
            <a:off x="8961049" y="2963862"/>
            <a:ext cx="2666621" cy="1631216"/>
            <a:chOff x="257338" y="2278062"/>
            <a:chExt cx="2701216" cy="1631448"/>
          </a:xfrm>
        </p:grpSpPr>
        <p:sp>
          <p:nvSpPr>
            <p:cNvPr id="20" name="Rectangle 19"/>
            <p:cNvSpPr/>
            <p:nvPr/>
          </p:nvSpPr>
          <p:spPr>
            <a:xfrm>
              <a:off x="257338" y="2278062"/>
              <a:ext cx="2701216" cy="1631448"/>
            </a:xfrm>
            <a:prstGeom prst="rect">
              <a:avLst/>
            </a:prstGeom>
          </p:spPr>
          <p:txBody>
            <a:bodyPr wrap="square">
              <a:spAutoFit/>
            </a:bodyPr>
            <a:lstStyle/>
            <a:p>
              <a:r>
                <a:rPr lang="en-US" sz="2000" b="1">
                  <a:solidFill>
                    <a:schemeClr val="tx1">
                      <a:lumMod val="85000"/>
                      <a:lumOff val="15000"/>
                    </a:schemeClr>
                  </a:solidFill>
                  <a:latin typeface="Segoe UI Light" panose="020B0502040204020203" pitchFamily="34" charset="0"/>
                  <a:cs typeface="Segoe UI Light" panose="020B0502040204020203" pitchFamily="34" charset="0"/>
                </a:rPr>
                <a:t>Create in Power Apps Studio</a:t>
              </a:r>
              <a:br>
                <a:rPr lang="en-US" sz="2000" b="1">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Build apps in a visual experience that shows exactly what you’ll get.</a:t>
              </a:r>
            </a:p>
          </p:txBody>
        </p:sp>
        <p:sp>
          <p:nvSpPr>
            <p:cNvPr id="21" name="Line Callout 2 (Accent Bar) 20"/>
            <p:cNvSpPr/>
            <p:nvPr/>
          </p:nvSpPr>
          <p:spPr>
            <a:xfrm flipH="1">
              <a:off x="2798211" y="2388656"/>
              <a:ext cx="160339" cy="880005"/>
            </a:xfrm>
            <a:prstGeom prst="accentCallout2">
              <a:avLst>
                <a:gd name="adj1" fmla="val 20972"/>
                <a:gd name="adj2" fmla="val 1880"/>
                <a:gd name="adj3" fmla="val 20824"/>
                <a:gd name="adj4" fmla="val -224795"/>
                <a:gd name="adj5" fmla="val 60865"/>
                <a:gd name="adj6" fmla="val -372596"/>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21"/>
          <p:cNvGrpSpPr/>
          <p:nvPr/>
        </p:nvGrpSpPr>
        <p:grpSpPr>
          <a:xfrm>
            <a:off x="648658" y="2278062"/>
            <a:ext cx="2653284" cy="1631216"/>
            <a:chOff x="304895" y="2236257"/>
            <a:chExt cx="2653660" cy="1631448"/>
          </a:xfrm>
        </p:grpSpPr>
        <p:sp>
          <p:nvSpPr>
            <p:cNvPr id="23" name="Rectangle 22"/>
            <p:cNvSpPr/>
            <p:nvPr/>
          </p:nvSpPr>
          <p:spPr>
            <a:xfrm>
              <a:off x="304895" y="2236257"/>
              <a:ext cx="2653659" cy="1631448"/>
            </a:xfrm>
            <a:prstGeom prst="rect">
              <a:avLst/>
            </a:prstGeom>
          </p:spPr>
          <p:txBody>
            <a:bodyPr wrap="square">
              <a:spAutoFit/>
            </a:bodyPr>
            <a:lstStyle/>
            <a:p>
              <a:pPr algn="r"/>
              <a:r>
                <a:rPr lang="en-US" sz="2000" b="1">
                  <a:solidFill>
                    <a:schemeClr val="tx1">
                      <a:lumMod val="85000"/>
                      <a:lumOff val="15000"/>
                    </a:schemeClr>
                  </a:solidFill>
                  <a:latin typeface="Segoe UI Light" panose="020B0502040204020203" pitchFamily="34" charset="0"/>
                  <a:cs typeface="Segoe UI Light" panose="020B0502040204020203" pitchFamily="34" charset="0"/>
                </a:rPr>
                <a:t>Power Apps Cloud</a:t>
              </a:r>
              <a:br>
                <a:rPr lang="en-US" sz="2000">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Publish apps to people in your organization so they can access anywhere.</a:t>
              </a:r>
            </a:p>
          </p:txBody>
        </p:sp>
        <p:sp>
          <p:nvSpPr>
            <p:cNvPr id="24" name="Line Callout 2 (Accent Bar) 23"/>
            <p:cNvSpPr/>
            <p:nvPr/>
          </p:nvSpPr>
          <p:spPr>
            <a:xfrm flipH="1">
              <a:off x="2874585" y="2347060"/>
              <a:ext cx="83970" cy="796603"/>
            </a:xfrm>
            <a:prstGeom prst="accentCallout2">
              <a:avLst>
                <a:gd name="adj1" fmla="val 18750"/>
                <a:gd name="adj2" fmla="val -8333"/>
                <a:gd name="adj3" fmla="val 17736"/>
                <a:gd name="adj4" fmla="val -296775"/>
                <a:gd name="adj5" fmla="val 80107"/>
                <a:gd name="adj6" fmla="val -682791"/>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p:cNvGrpSpPr/>
          <p:nvPr/>
        </p:nvGrpSpPr>
        <p:grpSpPr>
          <a:xfrm flipH="1">
            <a:off x="8930885" y="883746"/>
            <a:ext cx="2760135" cy="1938992"/>
            <a:chOff x="162612" y="2278062"/>
            <a:chExt cx="2795942" cy="1939268"/>
          </a:xfrm>
        </p:grpSpPr>
        <p:sp>
          <p:nvSpPr>
            <p:cNvPr id="26" name="Rectangle 25"/>
            <p:cNvSpPr/>
            <p:nvPr/>
          </p:nvSpPr>
          <p:spPr>
            <a:xfrm>
              <a:off x="162612" y="2278062"/>
              <a:ext cx="2795942" cy="1939268"/>
            </a:xfrm>
            <a:prstGeom prst="rect">
              <a:avLst/>
            </a:prstGeom>
          </p:spPr>
          <p:txBody>
            <a:bodyPr wrap="square">
              <a:spAutoFit/>
            </a:bodyPr>
            <a:lstStyle/>
            <a:p>
              <a:r>
                <a:rPr lang="en-US" sz="2000" b="1">
                  <a:solidFill>
                    <a:schemeClr val="tx1">
                      <a:lumMod val="85000"/>
                      <a:lumOff val="15000"/>
                    </a:schemeClr>
                  </a:solidFill>
                  <a:latin typeface="Segoe UI Light" panose="020B0502040204020203" pitchFamily="34" charset="0"/>
                  <a:cs typeface="Segoe UI Light" panose="020B0502040204020203" pitchFamily="34" charset="0"/>
                </a:rPr>
                <a:t>Use on web and mobile</a:t>
              </a:r>
              <a:br>
                <a:rPr lang="en-US" sz="2000">
                  <a:solidFill>
                    <a:schemeClr val="tx1">
                      <a:lumMod val="85000"/>
                      <a:lumOff val="15000"/>
                    </a:schemeClr>
                  </a:solidFill>
                  <a:latin typeface="Segoe UI Light" panose="020B0502040204020203" pitchFamily="34" charset="0"/>
                  <a:cs typeface="Segoe UI Light" panose="020B0502040204020203" pitchFamily="34" charset="0"/>
                </a:rPr>
              </a:br>
              <a:r>
                <a:rPr lang="en-US" sz="2000">
                  <a:solidFill>
                    <a:schemeClr val="tx1">
                      <a:lumMod val="85000"/>
                      <a:lumOff val="15000"/>
                    </a:schemeClr>
                  </a:solidFill>
                  <a:latin typeface="Segoe UI Light" panose="020B0502040204020203" pitchFamily="34" charset="0"/>
                  <a:cs typeface="Segoe UI Light" panose="020B0502040204020203" pitchFamily="34" charset="0"/>
                </a:rPr>
                <a:t>Find and use apps instantly on the web and in Power Apps mobile for iOS and Android.</a:t>
              </a:r>
            </a:p>
          </p:txBody>
        </p:sp>
        <p:sp>
          <p:nvSpPr>
            <p:cNvPr id="27" name="Line Callout 2 (Accent Bar) 26"/>
            <p:cNvSpPr/>
            <p:nvPr/>
          </p:nvSpPr>
          <p:spPr>
            <a:xfrm flipH="1">
              <a:off x="2798214" y="2388656"/>
              <a:ext cx="160340" cy="880005"/>
            </a:xfrm>
            <a:prstGeom prst="accentCallout2">
              <a:avLst>
                <a:gd name="adj1" fmla="val 20972"/>
                <a:gd name="adj2" fmla="val 1880"/>
                <a:gd name="adj3" fmla="val 20824"/>
                <a:gd name="adj4" fmla="val -224795"/>
                <a:gd name="adj5" fmla="val 60865"/>
                <a:gd name="adj6" fmla="val -372596"/>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97773D6-C87F-458F-A31A-A80110C62403}"/>
              </a:ext>
            </a:extLst>
          </p:cNvPr>
          <p:cNvSpPr>
            <a:spLocks noGrp="1"/>
          </p:cNvSpPr>
          <p:nvPr>
            <p:ph type="title"/>
          </p:nvPr>
        </p:nvSpPr>
        <p:spPr/>
        <p:txBody>
          <a:bodyPr/>
          <a:lstStyle/>
          <a:p>
            <a:r>
              <a:rPr lang="en-US"/>
              <a:t>How it works</a:t>
            </a:r>
          </a:p>
        </p:txBody>
      </p:sp>
    </p:spTree>
    <p:extLst>
      <p:ext uri="{BB962C8B-B14F-4D97-AF65-F5344CB8AC3E}">
        <p14:creationId xmlns:p14="http://schemas.microsoft.com/office/powerpoint/2010/main" val="2310307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5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nodeType="afterEffect">
                                  <p:stCondLst>
                                    <p:cond delay="250"/>
                                  </p:stCondLst>
                                  <p:childTnLst>
                                    <p:set>
                                      <p:cBhvr>
                                        <p:cTn id="9" dur="1" fill="hold">
                                          <p:stCondLst>
                                            <p:cond delay="0"/>
                                          </p:stCondLst>
                                        </p:cTn>
                                        <p:tgtEl>
                                          <p:spTgt spid="16"/>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250"/>
                                  </p:stCondLst>
                                  <p:childTnLst>
                                    <p:set>
                                      <p:cBhvr>
                                        <p:cTn id="12" dur="1" fill="hold">
                                          <p:stCondLst>
                                            <p:cond delay="0"/>
                                          </p:stCondLst>
                                        </p:cTn>
                                        <p:tgtEl>
                                          <p:spTgt spid="19"/>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nodeType="afterEffect">
                                  <p:stCondLst>
                                    <p:cond delay="250"/>
                                  </p:stCondLst>
                                  <p:childTnLst>
                                    <p:set>
                                      <p:cBhvr>
                                        <p:cTn id="15" dur="1" fill="hold">
                                          <p:stCondLst>
                                            <p:cond delay="0"/>
                                          </p:stCondLst>
                                        </p:cTn>
                                        <p:tgtEl>
                                          <p:spTgt spid="22"/>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nodeType="afterEffect">
                                  <p:stCondLst>
                                    <p:cond delay="25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9" name="Rectangle 22">
            <a:extLst>
              <a:ext uri="{FF2B5EF4-FFF2-40B4-BE49-F238E27FC236}">
                <a16:creationId xmlns:a16="http://schemas.microsoft.com/office/drawing/2014/main" id="{6F9EB9F2-07E2-4D64-BBD8-BB5B217F1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8012" y="326411"/>
            <a:ext cx="11780450" cy="6341702"/>
          </a:xfrm>
          <a:prstGeom prst="rect">
            <a:avLst/>
          </a:prstGeom>
          <a:solidFill>
            <a:schemeClr val="tx1">
              <a:alpha val="1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4B90FCF2-EECD-430D-9A80-C888748FFCE6}"/>
              </a:ext>
            </a:extLst>
          </p:cNvPr>
          <p:cNvSpPr>
            <a:spLocks noGrp="1"/>
          </p:cNvSpPr>
          <p:nvPr>
            <p:ph type="title"/>
          </p:nvPr>
        </p:nvSpPr>
        <p:spPr>
          <a:xfrm>
            <a:off x="4388411" y="2430462"/>
            <a:ext cx="6901752" cy="1979449"/>
          </a:xfrm>
        </p:spPr>
        <p:txBody>
          <a:bodyPr vert="horz" lIns="91440" tIns="45720" rIns="91440" bIns="45720" rtlCol="0" anchor="ctr">
            <a:normAutofit/>
          </a:bodyPr>
          <a:lstStyle/>
          <a:p>
            <a:pPr defTabSz="914400"/>
            <a:r>
              <a:rPr lang="en-US" sz="5500" err="1">
                <a:solidFill>
                  <a:schemeClr val="tx1">
                    <a:lumMod val="85000"/>
                    <a:lumOff val="15000"/>
                  </a:schemeClr>
                </a:solidFill>
                <a:ea typeface="+mj-ea"/>
                <a:cs typeface="+mj-cs"/>
              </a:rPr>
              <a:t>Dataverse</a:t>
            </a:r>
            <a:r>
              <a:rPr lang="en-US" sz="5500">
                <a:solidFill>
                  <a:schemeClr val="tx1">
                    <a:lumMod val="85000"/>
                    <a:lumOff val="15000"/>
                  </a:schemeClr>
                </a:solidFill>
                <a:ea typeface="+mj-ea"/>
                <a:cs typeface="+mj-cs"/>
              </a:rPr>
              <a:t> for Teams</a:t>
            </a:r>
            <a:endParaRPr lang="en-US" sz="5500" kern="1200">
              <a:solidFill>
                <a:schemeClr val="tx1">
                  <a:lumMod val="85000"/>
                  <a:lumOff val="15000"/>
                </a:schemeClr>
              </a:solidFill>
              <a:latin typeface="+mj-lt"/>
              <a:ea typeface="+mj-ea"/>
              <a:cs typeface="+mj-cs"/>
            </a:endParaRPr>
          </a:p>
        </p:txBody>
      </p:sp>
      <p:cxnSp>
        <p:nvCxnSpPr>
          <p:cNvPr id="30" name="Straight Connector 24">
            <a:extLst>
              <a:ext uri="{FF2B5EF4-FFF2-40B4-BE49-F238E27FC236}">
                <a16:creationId xmlns:a16="http://schemas.microsoft.com/office/drawing/2014/main" id="{F0C57C7C-DFE9-4A1E-B7A9-DF40E63366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37220" y="2098356"/>
            <a:ext cx="0" cy="279781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08A2066-8966-48D0-AA57-13D3E1651218}"/>
              </a:ext>
            </a:extLst>
          </p:cNvPr>
          <p:cNvSpPr txBox="1"/>
          <p:nvPr/>
        </p:nvSpPr>
        <p:spPr>
          <a:xfrm>
            <a:off x="6593913" y="3878262"/>
            <a:ext cx="5105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Previously named Project Oakdale</a:t>
            </a:r>
          </a:p>
        </p:txBody>
      </p:sp>
    </p:spTree>
    <p:extLst>
      <p:ext uri="{BB962C8B-B14F-4D97-AF65-F5344CB8AC3E}">
        <p14:creationId xmlns:p14="http://schemas.microsoft.com/office/powerpoint/2010/main" val="219642895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E68E6-0B82-4446-870D-655DDBC074CD}"/>
              </a:ext>
            </a:extLst>
          </p:cNvPr>
          <p:cNvSpPr>
            <a:spLocks noGrp="1"/>
          </p:cNvSpPr>
          <p:nvPr>
            <p:ph type="title"/>
          </p:nvPr>
        </p:nvSpPr>
        <p:spPr/>
        <p:txBody>
          <a:bodyPr/>
          <a:lstStyle/>
          <a:p>
            <a:r>
              <a:rPr lang="en-US"/>
              <a:t>What is it?</a:t>
            </a:r>
          </a:p>
        </p:txBody>
      </p:sp>
      <p:pic>
        <p:nvPicPr>
          <p:cNvPr id="1026" name="Picture 2" descr="Project Oakdale table in Teams">
            <a:extLst>
              <a:ext uri="{FF2B5EF4-FFF2-40B4-BE49-F238E27FC236}">
                <a16:creationId xmlns:a16="http://schemas.microsoft.com/office/drawing/2014/main" id="{7762D949-14AC-4356-9B8F-5BCB503356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3237" y="1948431"/>
            <a:ext cx="7077074" cy="39819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A610A98E-9C86-4D2F-B42F-B15BA871A93A}"/>
              </a:ext>
            </a:extLst>
          </p:cNvPr>
          <p:cNvGraphicFramePr/>
          <p:nvPr>
            <p:extLst>
              <p:ext uri="{D42A27DB-BD31-4B8C-83A1-F6EECF244321}">
                <p14:modId xmlns:p14="http://schemas.microsoft.com/office/powerpoint/2010/main" val="3466943596"/>
              </p:ext>
            </p:extLst>
          </p:nvPr>
        </p:nvGraphicFramePr>
        <p:xfrm>
          <a:off x="483359" y="1363662"/>
          <a:ext cx="3307291" cy="51514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16742575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1DA1D-3015-4115-A46F-08C300A8EA0B}"/>
              </a:ext>
            </a:extLst>
          </p:cNvPr>
          <p:cNvSpPr>
            <a:spLocks noGrp="1"/>
          </p:cNvSpPr>
          <p:nvPr>
            <p:ph type="title"/>
          </p:nvPr>
        </p:nvSpPr>
        <p:spPr/>
        <p:txBody>
          <a:bodyPr/>
          <a:lstStyle/>
          <a:p>
            <a:r>
              <a:rPr lang="en-US"/>
              <a:t>When should I use it?</a:t>
            </a:r>
          </a:p>
        </p:txBody>
      </p:sp>
      <p:sp>
        <p:nvSpPr>
          <p:cNvPr id="4" name="TextBox 3">
            <a:extLst>
              <a:ext uri="{FF2B5EF4-FFF2-40B4-BE49-F238E27FC236}">
                <a16:creationId xmlns:a16="http://schemas.microsoft.com/office/drawing/2014/main" id="{257FC62E-49E3-444E-A85B-32C19485B2EA}"/>
              </a:ext>
            </a:extLst>
          </p:cNvPr>
          <p:cNvSpPr txBox="1"/>
          <p:nvPr/>
        </p:nvSpPr>
        <p:spPr>
          <a:xfrm>
            <a:off x="4598885" y="5063898"/>
            <a:ext cx="6668086" cy="646331"/>
          </a:xfrm>
          <a:prstGeom prst="rect">
            <a:avLst/>
          </a:prstGeom>
          <a:noFill/>
        </p:spPr>
        <p:txBody>
          <a:bodyPr wrap="square">
            <a:spAutoFit/>
          </a:bodyPr>
          <a:lstStyle/>
          <a:p>
            <a:pPr algn="l">
              <a:buFont typeface="Arial" panose="020B0604020202020204" pitchFamily="34" charset="0"/>
              <a:buChar char="•"/>
            </a:pPr>
            <a:r>
              <a:rPr lang="en-US" b="0" i="0">
                <a:solidFill>
                  <a:srgbClr val="171717"/>
                </a:solidFill>
                <a:effectLst/>
                <a:latin typeface="Segoe UI" panose="020B0502040204020203" pitchFamily="34" charset="0"/>
              </a:rPr>
              <a:t>.</a:t>
            </a:r>
          </a:p>
          <a:p>
            <a:pPr algn="l">
              <a:buFont typeface="Arial" panose="020B0604020202020204" pitchFamily="34" charset="0"/>
              <a:buChar char="•"/>
            </a:pPr>
            <a:r>
              <a:rPr lang="en-US" b="0" i="0">
                <a:solidFill>
                  <a:srgbClr val="171717"/>
                </a:solidFill>
                <a:effectLst/>
                <a:latin typeface="Segoe UI" panose="020B0502040204020203" pitchFamily="34" charset="0"/>
              </a:rPr>
              <a:t>.</a:t>
            </a:r>
          </a:p>
        </p:txBody>
      </p:sp>
      <p:graphicFrame>
        <p:nvGraphicFramePr>
          <p:cNvPr id="3" name="Diagram 2">
            <a:extLst>
              <a:ext uri="{FF2B5EF4-FFF2-40B4-BE49-F238E27FC236}">
                <a16:creationId xmlns:a16="http://schemas.microsoft.com/office/drawing/2014/main" id="{BC7AE67D-4F38-4552-98BA-28FAED1B466A}"/>
              </a:ext>
            </a:extLst>
          </p:cNvPr>
          <p:cNvGraphicFramePr/>
          <p:nvPr>
            <p:extLst>
              <p:ext uri="{D42A27DB-BD31-4B8C-83A1-F6EECF244321}">
                <p14:modId xmlns:p14="http://schemas.microsoft.com/office/powerpoint/2010/main" val="1445141286"/>
              </p:ext>
            </p:extLst>
          </p:nvPr>
        </p:nvGraphicFramePr>
        <p:xfrm>
          <a:off x="457200" y="1284296"/>
          <a:ext cx="11522075" cy="52308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0811212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5B666-06D9-4DEC-8149-5A205CEA7357}"/>
              </a:ext>
            </a:extLst>
          </p:cNvPr>
          <p:cNvSpPr>
            <a:spLocks noGrp="1"/>
          </p:cNvSpPr>
          <p:nvPr>
            <p:ph type="title"/>
          </p:nvPr>
        </p:nvSpPr>
        <p:spPr/>
        <p:txBody>
          <a:bodyPr/>
          <a:lstStyle/>
          <a:p>
            <a:r>
              <a:rPr lang="en-US"/>
              <a:t>When should I not use it</a:t>
            </a:r>
          </a:p>
        </p:txBody>
      </p:sp>
      <p:graphicFrame>
        <p:nvGraphicFramePr>
          <p:cNvPr id="3" name="Diagram 2">
            <a:extLst>
              <a:ext uri="{FF2B5EF4-FFF2-40B4-BE49-F238E27FC236}">
                <a16:creationId xmlns:a16="http://schemas.microsoft.com/office/drawing/2014/main" id="{6AE47AF7-3091-4B6D-8E1E-DC6B1606FD43}"/>
              </a:ext>
            </a:extLst>
          </p:cNvPr>
          <p:cNvGraphicFramePr/>
          <p:nvPr>
            <p:extLst>
              <p:ext uri="{D42A27DB-BD31-4B8C-83A1-F6EECF244321}">
                <p14:modId xmlns:p14="http://schemas.microsoft.com/office/powerpoint/2010/main" val="3057018000"/>
              </p:ext>
            </p:extLst>
          </p:nvPr>
        </p:nvGraphicFramePr>
        <p:xfrm>
          <a:off x="457199" y="1211262"/>
          <a:ext cx="11522075" cy="53038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203876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C9E5B-EA73-4449-A79B-C287F76A7EFF}"/>
              </a:ext>
            </a:extLst>
          </p:cNvPr>
          <p:cNvSpPr>
            <a:spLocks noGrp="1"/>
          </p:cNvSpPr>
          <p:nvPr>
            <p:ph type="title"/>
          </p:nvPr>
        </p:nvSpPr>
        <p:spPr/>
        <p:txBody>
          <a:bodyPr/>
          <a:lstStyle/>
          <a:p>
            <a:r>
              <a:rPr lang="en-US"/>
              <a:t>How would I use it</a:t>
            </a:r>
          </a:p>
        </p:txBody>
      </p:sp>
      <p:sp>
        <p:nvSpPr>
          <p:cNvPr id="3" name="TextBox 2">
            <a:extLst>
              <a:ext uri="{FF2B5EF4-FFF2-40B4-BE49-F238E27FC236}">
                <a16:creationId xmlns:a16="http://schemas.microsoft.com/office/drawing/2014/main" id="{8ADA5948-1913-463F-8CC4-C9CB6AD671F0}"/>
              </a:ext>
            </a:extLst>
          </p:cNvPr>
          <p:cNvSpPr txBox="1"/>
          <p:nvPr/>
        </p:nvSpPr>
        <p:spPr>
          <a:xfrm>
            <a:off x="503237" y="1287462"/>
            <a:ext cx="10896600" cy="1181862"/>
          </a:xfrm>
          <a:prstGeom prst="rect">
            <a:avLst/>
          </a:prstGeom>
          <a:noFill/>
        </p:spPr>
        <p:txBody>
          <a:bodyPr wrap="square" lIns="182880" tIns="146304" rIns="182880" bIns="146304" rtlCol="0">
            <a:spAutoFit/>
          </a:bodyPr>
          <a:lstStyle/>
          <a:p>
            <a:pPr>
              <a:lnSpc>
                <a:spcPct val="90000"/>
              </a:lnSpc>
              <a:spcAft>
                <a:spcPts val="600"/>
              </a:spcAft>
            </a:pPr>
            <a:r>
              <a:rPr lang="en-US" sz="3200" b="0" i="0">
                <a:solidFill>
                  <a:schemeClr val="tx1">
                    <a:lumMod val="50000"/>
                  </a:schemeClr>
                </a:solidFill>
                <a:effectLst/>
                <a:latin typeface="Segoe UI" panose="020B0502040204020203" pitchFamily="34" charset="0"/>
              </a:rPr>
              <a:t>Environment is automatically created for the selected team when you:</a:t>
            </a:r>
          </a:p>
        </p:txBody>
      </p:sp>
      <p:pic>
        <p:nvPicPr>
          <p:cNvPr id="4" name="Picture 3">
            <a:extLst>
              <a:ext uri="{FF2B5EF4-FFF2-40B4-BE49-F238E27FC236}">
                <a16:creationId xmlns:a16="http://schemas.microsoft.com/office/drawing/2014/main" id="{07CA59F1-978F-45C5-ADFF-16946D2E51F9}"/>
              </a:ext>
            </a:extLst>
          </p:cNvPr>
          <p:cNvPicPr>
            <a:picLocks noChangeAspect="1"/>
          </p:cNvPicPr>
          <p:nvPr/>
        </p:nvPicPr>
        <p:blipFill>
          <a:blip r:embed="rId3"/>
          <a:stretch>
            <a:fillRect/>
          </a:stretch>
        </p:blipFill>
        <p:spPr>
          <a:xfrm>
            <a:off x="5380036" y="2454760"/>
            <a:ext cx="6730136" cy="3785702"/>
          </a:xfrm>
          <a:prstGeom prst="rect">
            <a:avLst/>
          </a:prstGeom>
        </p:spPr>
      </p:pic>
      <p:sp>
        <p:nvSpPr>
          <p:cNvPr id="6" name="TextBox 5">
            <a:extLst>
              <a:ext uri="{FF2B5EF4-FFF2-40B4-BE49-F238E27FC236}">
                <a16:creationId xmlns:a16="http://schemas.microsoft.com/office/drawing/2014/main" id="{D0951595-B4E9-4648-9AD7-C6783C266DA9}"/>
              </a:ext>
            </a:extLst>
          </p:cNvPr>
          <p:cNvSpPr txBox="1"/>
          <p:nvPr/>
        </p:nvSpPr>
        <p:spPr>
          <a:xfrm>
            <a:off x="457199" y="3121190"/>
            <a:ext cx="4922837" cy="2573012"/>
          </a:xfrm>
          <a:prstGeom prst="rect">
            <a:avLst/>
          </a:prstGeom>
          <a:noFill/>
        </p:spPr>
        <p:txBody>
          <a:bodyPr wrap="square">
            <a:spAutoFit/>
          </a:bodyPr>
          <a:lstStyle/>
          <a:p>
            <a:pPr>
              <a:lnSpc>
                <a:spcPct val="90000"/>
              </a:lnSpc>
              <a:spcAft>
                <a:spcPts val="600"/>
              </a:spcAft>
            </a:pPr>
            <a:r>
              <a:rPr lang="en-US" sz="2800">
                <a:solidFill>
                  <a:schemeClr val="tx1">
                    <a:lumMod val="50000"/>
                  </a:schemeClr>
                </a:solidFill>
                <a:latin typeface="Segoe UI" panose="020B0502040204020203" pitchFamily="34" charset="0"/>
              </a:rPr>
              <a:t>1.</a:t>
            </a:r>
            <a:r>
              <a:rPr lang="en-US" sz="2800" b="0" i="0">
                <a:solidFill>
                  <a:schemeClr val="tx1">
                    <a:lumMod val="50000"/>
                  </a:schemeClr>
                </a:solidFill>
                <a:effectLst/>
                <a:latin typeface="Segoe UI" panose="020B0502040204020203" pitchFamily="34" charset="0"/>
              </a:rPr>
              <a:t> </a:t>
            </a:r>
            <a:r>
              <a:rPr lang="en-US" sz="2800" b="0" i="0" u="none" strike="noStrike">
                <a:solidFill>
                  <a:schemeClr val="tx1">
                    <a:lumMod val="50000"/>
                  </a:schemeClr>
                </a:solidFill>
                <a:effectLst/>
                <a:latin typeface="Segoe UI" panose="020B0502040204020203" pitchFamily="34" charset="0"/>
              </a:rPr>
              <a:t>Create a </a:t>
            </a:r>
            <a:r>
              <a:rPr lang="en-US" sz="2800" b="0" i="0">
                <a:solidFill>
                  <a:schemeClr val="tx1">
                    <a:lumMod val="50000"/>
                  </a:schemeClr>
                </a:solidFill>
                <a:effectLst/>
                <a:latin typeface="Segoe UI" panose="020B0502040204020203" pitchFamily="34" charset="0"/>
              </a:rPr>
              <a:t>new Power Apps app in Teams for the first time</a:t>
            </a:r>
          </a:p>
          <a:p>
            <a:pPr>
              <a:lnSpc>
                <a:spcPct val="90000"/>
              </a:lnSpc>
              <a:spcAft>
                <a:spcPts val="600"/>
              </a:spcAft>
            </a:pPr>
            <a:endParaRPr lang="en-US" sz="2800" b="0" i="0">
              <a:solidFill>
                <a:schemeClr val="tx1">
                  <a:lumMod val="50000"/>
                </a:schemeClr>
              </a:solidFill>
              <a:effectLst/>
              <a:latin typeface="Segoe UI" panose="020B0502040204020203" pitchFamily="34" charset="0"/>
            </a:endParaRPr>
          </a:p>
          <a:p>
            <a:pPr>
              <a:lnSpc>
                <a:spcPct val="90000"/>
              </a:lnSpc>
              <a:spcAft>
                <a:spcPts val="600"/>
              </a:spcAft>
            </a:pPr>
            <a:r>
              <a:rPr lang="en-US" sz="2800">
                <a:solidFill>
                  <a:schemeClr val="tx1">
                    <a:lumMod val="50000"/>
                  </a:schemeClr>
                </a:solidFill>
                <a:latin typeface="Segoe UI" panose="020B0502040204020203" pitchFamily="34" charset="0"/>
              </a:rPr>
              <a:t>2.</a:t>
            </a:r>
            <a:r>
              <a:rPr lang="en-US" sz="2800" b="0" i="0">
                <a:solidFill>
                  <a:schemeClr val="tx1">
                    <a:lumMod val="50000"/>
                  </a:schemeClr>
                </a:solidFill>
                <a:effectLst/>
                <a:latin typeface="Segoe UI" panose="020B0502040204020203" pitchFamily="34" charset="0"/>
              </a:rPr>
              <a:t> Install a Power Apps app from the app catalog for the first time</a:t>
            </a:r>
          </a:p>
        </p:txBody>
      </p:sp>
    </p:spTree>
    <p:extLst>
      <p:ext uri="{BB962C8B-B14F-4D97-AF65-F5344CB8AC3E}">
        <p14:creationId xmlns:p14="http://schemas.microsoft.com/office/powerpoint/2010/main" val="410822038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E7D1C45-11F4-44F4-A357-146D90A686D6}"/>
    </a:ext>
  </a:extLst>
</a:theme>
</file>

<file path=ppt/theme/theme2.xml><?xml version="1.0" encoding="utf-8"?>
<a:theme xmlns:a="http://schemas.openxmlformats.org/drawingml/2006/main" name="Slide Order Exampl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ule example" id="{1C3926DE-7F71-4D7A-B5F6-93A655CC656D}" vid="{2741F226-CF8B-4F26-BBF7-A6BD44C97ABF}"/>
    </a:ext>
  </a:extLst>
</a:theme>
</file>

<file path=ppt/theme/theme3.xml><?xml version="1.0" encoding="utf-8"?>
<a:theme xmlns:a="http://schemas.openxmlformats.org/drawingml/2006/main" name="9-51153_Microsoft_Ignite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_Ignite_Digital_Event_Template_v12.potx" id="{987F915D-5FB6-4803-B1B9-1178BD7F7B76}" vid="{895B265D-DC43-4F47-AB7E-03FE0BD4260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1A30EF4619004EBEDFBAB8622F3BF8" ma:contentTypeVersion="2" ma:contentTypeDescription="Create a new document." ma:contentTypeScope="" ma:versionID="5106ef4052bf219c157e3a911ade681b">
  <xsd:schema xmlns:xsd="http://www.w3.org/2001/XMLSchema" xmlns:xs="http://www.w3.org/2001/XMLSchema" xmlns:p="http://schemas.microsoft.com/office/2006/metadata/properties" xmlns:ns2="04712b7a-9a5f-4844-9ec7-615beca820f8" targetNamespace="http://schemas.microsoft.com/office/2006/metadata/properties" ma:root="true" ma:fieldsID="950ef3728ecd69a455950e0c8f83706e" ns2:_="">
    <xsd:import namespace="04712b7a-9a5f-4844-9ec7-615beca820f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712b7a-9a5f-4844-9ec7-615beca820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5B82A6-0C00-4384-8A5B-7E8D3DF94C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4712b7a-9a5f-4844-9ec7-615beca820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3b5b03cc-9306-41fe-b546-62901339ed8b"/>
    <ds:schemaRef ds:uri="5253fb86-9b63-4920-bff8-96c644771ec3"/>
    <ds:schemaRef ds:uri="e7d72042-c94b-4623-b7b3-49577d00fb1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101</TotalTime>
  <Words>2470</Words>
  <Application>Microsoft Office PowerPoint</Application>
  <PresentationFormat>Custom</PresentationFormat>
  <Paragraphs>236</Paragraphs>
  <Slides>20</Slides>
  <Notes>18</Notes>
  <HiddenSlides>6</HiddenSlides>
  <MMClips>0</MMClips>
  <ScaleCrop>false</ScaleCrop>
  <HeadingPairs>
    <vt:vector size="6" baseType="variant">
      <vt:variant>
        <vt:lpstr>Fonts Used</vt:lpstr>
      </vt:variant>
      <vt:variant>
        <vt:i4>9</vt:i4>
      </vt:variant>
      <vt:variant>
        <vt:lpstr>Theme</vt:lpstr>
      </vt:variant>
      <vt:variant>
        <vt:i4>3</vt:i4>
      </vt:variant>
      <vt:variant>
        <vt:lpstr>Slide Titles</vt:lpstr>
      </vt:variant>
      <vt:variant>
        <vt:i4>20</vt:i4>
      </vt:variant>
    </vt:vector>
  </HeadingPairs>
  <TitlesOfParts>
    <vt:vector size="32" baseType="lpstr">
      <vt:lpstr>Arial</vt:lpstr>
      <vt:lpstr>Calibri</vt:lpstr>
      <vt:lpstr>Calibri Light</vt:lpstr>
      <vt:lpstr>Consolas</vt:lpstr>
      <vt:lpstr>Segoe UI</vt:lpstr>
      <vt:lpstr>Segoe UI Light</vt:lpstr>
      <vt:lpstr>Segoe UI Semibold</vt:lpstr>
      <vt:lpstr>Segoe UI Semilight</vt:lpstr>
      <vt:lpstr>Wingdings</vt:lpstr>
      <vt:lpstr>WHITE TEMPLATE</vt:lpstr>
      <vt:lpstr>Slide Order Example</vt:lpstr>
      <vt:lpstr>9-51153_Microsoft_Ignite_White_Template</vt:lpstr>
      <vt:lpstr>Module 6: Introduction to Power Apps</vt:lpstr>
      <vt:lpstr>Power Apps Overview </vt:lpstr>
      <vt:lpstr>PowerPoint Presentation</vt:lpstr>
      <vt:lpstr>How it works</vt:lpstr>
      <vt:lpstr>Dataverse for Teams</vt:lpstr>
      <vt:lpstr>What is it?</vt:lpstr>
      <vt:lpstr>When should I use it?</vt:lpstr>
      <vt:lpstr>When should I not use it</vt:lpstr>
      <vt:lpstr>How would I use it</vt:lpstr>
      <vt:lpstr>Embed a canvas app as tab app in Teams</vt:lpstr>
      <vt:lpstr>Fundamentals </vt:lpstr>
      <vt:lpstr>Power Apps Studio </vt:lpstr>
      <vt:lpstr>Power Apps Studio components </vt:lpstr>
      <vt:lpstr>Power Apps Studio</vt:lpstr>
      <vt:lpstr>Creating an App  </vt:lpstr>
      <vt:lpstr>Layout options </vt:lpstr>
      <vt:lpstr>The formula bar</vt:lpstr>
      <vt:lpstr>SharePoint List as data repository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PowerApps Power User Module 1: Introduction and Overview  &lt;Instructor&gt; </dc:title>
  <dc:creator>Christopher Weaver</dc:creator>
  <cp:lastModifiedBy>Ethan Irons</cp:lastModifiedBy>
  <cp:revision>1</cp:revision>
  <dcterms:created xsi:type="dcterms:W3CDTF">2020-01-22T21:03:49Z</dcterms:created>
  <dcterms:modified xsi:type="dcterms:W3CDTF">2021-10-26T22:2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1A30EF4619004EBEDFBAB8622F3BF8</vt:lpwstr>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Order">
    <vt:r8>43400</vt:r8>
  </property>
</Properties>
</file>